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0" r:id="rId5"/>
    <p:sldMasterId id="2147483652" r:id="rId6"/>
    <p:sldMasterId id="2147483656" r:id="rId7"/>
  </p:sldMasterIdLst>
  <p:notesMasterIdLst>
    <p:notesMasterId r:id="rId20"/>
  </p:notesMasterIdLst>
  <p:sldIdLst>
    <p:sldId id="256" r:id="rId8"/>
    <p:sldId id="284" r:id="rId9"/>
    <p:sldId id="348" r:id="rId10"/>
    <p:sldId id="350" r:id="rId11"/>
    <p:sldId id="351" r:id="rId12"/>
    <p:sldId id="352" r:id="rId13"/>
    <p:sldId id="264" r:id="rId14"/>
    <p:sldId id="266" r:id="rId15"/>
    <p:sldId id="349" r:id="rId16"/>
    <p:sldId id="353" r:id="rId17"/>
    <p:sldId id="276" r:id="rId18"/>
    <p:sldId id="261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248D1B-A47A-B7C1-24D9-7127110DF0D0}" name="Guest User" initials="GU" userId="S::urn:spo:anon#5c1cd7b39cb30a75ca1cea0fb2ba435992d6c6a6b484349a9ca7505025227c67::" providerId="AD"/>
  <p188:author id="{F1E6144C-14BA-4EF9-61ED-859BA2598D84}" name="Frances Meek" initials="FM" userId="S::F.Meek@nutrition.org.uk::f3af35cc-3229-46e1-af36-3525661cfbd3" providerId="AD"/>
  <p188:author id="{7ECFBFCA-DD88-6422-7FAF-B5B8619DEB83}" name="Ewen Trafford" initials="EPT" userId="Ewen Trafford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es Meek" initials="FM" lastIdx="2" clrIdx="0">
    <p:extLst>
      <p:ext uri="{19B8F6BF-5375-455C-9EA6-DF929625EA0E}">
        <p15:presenceInfo xmlns:p15="http://schemas.microsoft.com/office/powerpoint/2012/main" userId="S::F.Meek@nutrition.org.uk::f3af35cc-3229-46e1-af36-3525661cfbd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9F3F"/>
    <a:srgbClr val="FCC241"/>
    <a:srgbClr val="D98F1A"/>
    <a:srgbClr val="FCE3C2"/>
    <a:srgbClr val="F9D4B6"/>
    <a:srgbClr val="EDAD80"/>
    <a:srgbClr val="E46B2F"/>
    <a:srgbClr val="ED6B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623F04-A02B-4619-88F8-7754EC5BB880}" v="1" dt="2022-09-25T11:39:36.1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es Meek" userId="f3af35cc-3229-46e1-af36-3525661cfbd3" providerId="ADAL" clId="{F376D9DA-E273-402F-88CD-58A52DBC3E00}"/>
    <pc:docChg chg="undo custSel addSld modSld">
      <pc:chgData name="Frances Meek" userId="f3af35cc-3229-46e1-af36-3525661cfbd3" providerId="ADAL" clId="{F376D9DA-E273-402F-88CD-58A52DBC3E00}" dt="2022-06-01T15:16:05.399" v="1199" actId="2711"/>
      <pc:docMkLst>
        <pc:docMk/>
      </pc:docMkLst>
      <pc:sldChg chg="modSp mod">
        <pc:chgData name="Frances Meek" userId="f3af35cc-3229-46e1-af36-3525661cfbd3" providerId="ADAL" clId="{F376D9DA-E273-402F-88CD-58A52DBC3E00}" dt="2022-05-24T12:40:31.101" v="6" actId="313"/>
        <pc:sldMkLst>
          <pc:docMk/>
          <pc:sldMk cId="1199664204" sldId="263"/>
        </pc:sldMkLst>
        <pc:spChg chg="mod">
          <ac:chgData name="Frances Meek" userId="f3af35cc-3229-46e1-af36-3525661cfbd3" providerId="ADAL" clId="{F376D9DA-E273-402F-88CD-58A52DBC3E00}" dt="2022-05-24T12:40:31.101" v="6" actId="313"/>
          <ac:spMkLst>
            <pc:docMk/>
            <pc:sldMk cId="1199664204" sldId="263"/>
            <ac:spMk id="2" creationId="{44734D3D-C20B-4ED7-8C51-1867D1A26058}"/>
          </ac:spMkLst>
        </pc:spChg>
      </pc:sldChg>
      <pc:sldChg chg="addCm">
        <pc:chgData name="Frances Meek" userId="f3af35cc-3229-46e1-af36-3525661cfbd3" providerId="ADAL" clId="{F376D9DA-E273-402F-88CD-58A52DBC3E00}" dt="2022-05-24T12:41:17.847" v="7"/>
        <pc:sldMkLst>
          <pc:docMk/>
          <pc:sldMk cId="3993973292" sldId="274"/>
        </pc:sldMkLst>
      </pc:sldChg>
      <pc:sldChg chg="modSp mod">
        <pc:chgData name="Frances Meek" userId="f3af35cc-3229-46e1-af36-3525661cfbd3" providerId="ADAL" clId="{F376D9DA-E273-402F-88CD-58A52DBC3E00}" dt="2022-06-01T13:58:56.279" v="543" actId="20577"/>
        <pc:sldMkLst>
          <pc:docMk/>
          <pc:sldMk cId="3137792006" sldId="277"/>
        </pc:sldMkLst>
        <pc:spChg chg="mod">
          <ac:chgData name="Frances Meek" userId="f3af35cc-3229-46e1-af36-3525661cfbd3" providerId="ADAL" clId="{F376D9DA-E273-402F-88CD-58A52DBC3E00}" dt="2022-06-01T13:58:56.279" v="543" actId="20577"/>
          <ac:spMkLst>
            <pc:docMk/>
            <pc:sldMk cId="3137792006" sldId="277"/>
            <ac:spMk id="7" creationId="{1B259F73-E87B-42C3-9AC3-9D81F3D3C48B}"/>
          </ac:spMkLst>
        </pc:spChg>
      </pc:sldChg>
      <pc:sldChg chg="modSp mod">
        <pc:chgData name="Frances Meek" userId="f3af35cc-3229-46e1-af36-3525661cfbd3" providerId="ADAL" clId="{F376D9DA-E273-402F-88CD-58A52DBC3E00}" dt="2022-05-24T12:38:32.678" v="1" actId="20577"/>
        <pc:sldMkLst>
          <pc:docMk/>
          <pc:sldMk cId="1351839580" sldId="294"/>
        </pc:sldMkLst>
        <pc:spChg chg="mod">
          <ac:chgData name="Frances Meek" userId="f3af35cc-3229-46e1-af36-3525661cfbd3" providerId="ADAL" clId="{F376D9DA-E273-402F-88CD-58A52DBC3E00}" dt="2022-05-24T12:38:32.678" v="1" actId="20577"/>
          <ac:spMkLst>
            <pc:docMk/>
            <pc:sldMk cId="1351839580" sldId="294"/>
            <ac:spMk id="7" creationId="{9F5610B5-B857-41E6-8A9E-1F8B928123A4}"/>
          </ac:spMkLst>
        </pc:spChg>
      </pc:sldChg>
      <pc:sldChg chg="addSp delSp modSp mod">
        <pc:chgData name="Frances Meek" userId="f3af35cc-3229-46e1-af36-3525661cfbd3" providerId="ADAL" clId="{F376D9DA-E273-402F-88CD-58A52DBC3E00}" dt="2022-06-01T15:15:09.763" v="1198" actId="20577"/>
        <pc:sldMkLst>
          <pc:docMk/>
          <pc:sldMk cId="2939916080" sldId="299"/>
        </pc:sldMkLst>
        <pc:spChg chg="mod">
          <ac:chgData name="Frances Meek" userId="f3af35cc-3229-46e1-af36-3525661cfbd3" providerId="ADAL" clId="{F376D9DA-E273-402F-88CD-58A52DBC3E00}" dt="2022-06-01T15:15:09.763" v="1198" actId="20577"/>
          <ac:spMkLst>
            <pc:docMk/>
            <pc:sldMk cId="2939916080" sldId="299"/>
            <ac:spMk id="3" creationId="{00000000-0000-0000-0000-000000000000}"/>
          </ac:spMkLst>
        </pc:spChg>
        <pc:spChg chg="add del mod">
          <ac:chgData name="Frances Meek" userId="f3af35cc-3229-46e1-af36-3525661cfbd3" providerId="ADAL" clId="{F376D9DA-E273-402F-88CD-58A52DBC3E00}" dt="2022-06-01T14:21:55.602" v="973" actId="767"/>
          <ac:spMkLst>
            <pc:docMk/>
            <pc:sldMk cId="2939916080" sldId="299"/>
            <ac:spMk id="4" creationId="{BFC55DC0-B659-EFFD-5A51-6A2231B6767A}"/>
          </ac:spMkLst>
        </pc:spChg>
        <pc:spChg chg="mod">
          <ac:chgData name="Frances Meek" userId="f3af35cc-3229-46e1-af36-3525661cfbd3" providerId="ADAL" clId="{F376D9DA-E273-402F-88CD-58A52DBC3E00}" dt="2022-06-01T14:21:57.794" v="977" actId="14100"/>
          <ac:spMkLst>
            <pc:docMk/>
            <pc:sldMk cId="2939916080" sldId="299"/>
            <ac:spMk id="9" creationId="{90AD5823-4F3E-4ABB-A30E-D01E6F661D32}"/>
          </ac:spMkLst>
        </pc:spChg>
        <pc:picChg chg="mod">
          <ac:chgData name="Frances Meek" userId="f3af35cc-3229-46e1-af36-3525661cfbd3" providerId="ADAL" clId="{F376D9DA-E273-402F-88CD-58A52DBC3E00}" dt="2022-06-01T14:21:57.794" v="977" actId="14100"/>
          <ac:picMkLst>
            <pc:docMk/>
            <pc:sldMk cId="2939916080" sldId="299"/>
            <ac:picMk id="6" creationId="{C0FE8D37-3213-4315-AF72-2D59BD6E86A1}"/>
          </ac:picMkLst>
        </pc:picChg>
        <pc:picChg chg="mod">
          <ac:chgData name="Frances Meek" userId="f3af35cc-3229-46e1-af36-3525661cfbd3" providerId="ADAL" clId="{F376D9DA-E273-402F-88CD-58A52DBC3E00}" dt="2022-06-01T14:21:56.129" v="974" actId="1076"/>
          <ac:picMkLst>
            <pc:docMk/>
            <pc:sldMk cId="2939916080" sldId="299"/>
            <ac:picMk id="8" creationId="{429738C1-FBF9-4D65-81AD-6466098FBB67}"/>
          </ac:picMkLst>
        </pc:picChg>
      </pc:sldChg>
      <pc:sldChg chg="modSp mod">
        <pc:chgData name="Frances Meek" userId="f3af35cc-3229-46e1-af36-3525661cfbd3" providerId="ADAL" clId="{F376D9DA-E273-402F-88CD-58A52DBC3E00}" dt="2022-06-01T13:09:35.363" v="252" actId="14100"/>
        <pc:sldMkLst>
          <pc:docMk/>
          <pc:sldMk cId="4146092675" sldId="301"/>
        </pc:sldMkLst>
        <pc:spChg chg="mod">
          <ac:chgData name="Frances Meek" userId="f3af35cc-3229-46e1-af36-3525661cfbd3" providerId="ADAL" clId="{F376D9DA-E273-402F-88CD-58A52DBC3E00}" dt="2022-06-01T13:09:35.363" v="252" actId="14100"/>
          <ac:spMkLst>
            <pc:docMk/>
            <pc:sldMk cId="4146092675" sldId="301"/>
            <ac:spMk id="4" creationId="{AD0D0778-949E-4414-BC9B-77E033DFFAA2}"/>
          </ac:spMkLst>
        </pc:spChg>
      </pc:sldChg>
      <pc:sldChg chg="modSp mod">
        <pc:chgData name="Frances Meek" userId="f3af35cc-3229-46e1-af36-3525661cfbd3" providerId="ADAL" clId="{F376D9DA-E273-402F-88CD-58A52DBC3E00}" dt="2022-06-01T13:07:22.037" v="233" actId="20577"/>
        <pc:sldMkLst>
          <pc:docMk/>
          <pc:sldMk cId="1274149409" sldId="302"/>
        </pc:sldMkLst>
        <pc:spChg chg="mod">
          <ac:chgData name="Frances Meek" userId="f3af35cc-3229-46e1-af36-3525661cfbd3" providerId="ADAL" clId="{F376D9DA-E273-402F-88CD-58A52DBC3E00}" dt="2022-06-01T13:07:22.037" v="233" actId="20577"/>
          <ac:spMkLst>
            <pc:docMk/>
            <pc:sldMk cId="1274149409" sldId="302"/>
            <ac:spMk id="3" creationId="{00000000-0000-0000-0000-000000000000}"/>
          </ac:spMkLst>
        </pc:spChg>
      </pc:sldChg>
      <pc:sldChg chg="modSp mod">
        <pc:chgData name="Frances Meek" userId="f3af35cc-3229-46e1-af36-3525661cfbd3" providerId="ADAL" clId="{F376D9DA-E273-402F-88CD-58A52DBC3E00}" dt="2022-06-01T13:10:36.228" v="266" actId="20577"/>
        <pc:sldMkLst>
          <pc:docMk/>
          <pc:sldMk cId="1245899220" sldId="305"/>
        </pc:sldMkLst>
        <pc:spChg chg="mod">
          <ac:chgData name="Frances Meek" userId="f3af35cc-3229-46e1-af36-3525661cfbd3" providerId="ADAL" clId="{F376D9DA-E273-402F-88CD-58A52DBC3E00}" dt="2022-06-01T13:10:18.608" v="263" actId="20577"/>
          <ac:spMkLst>
            <pc:docMk/>
            <pc:sldMk cId="1245899220" sldId="305"/>
            <ac:spMk id="2" creationId="{00000000-0000-0000-0000-000000000000}"/>
          </ac:spMkLst>
        </pc:spChg>
        <pc:spChg chg="mod">
          <ac:chgData name="Frances Meek" userId="f3af35cc-3229-46e1-af36-3525661cfbd3" providerId="ADAL" clId="{F376D9DA-E273-402F-88CD-58A52DBC3E00}" dt="2022-06-01T13:10:36.228" v="266" actId="20577"/>
          <ac:spMkLst>
            <pc:docMk/>
            <pc:sldMk cId="1245899220" sldId="305"/>
            <ac:spMk id="3" creationId="{00000000-0000-0000-0000-000000000000}"/>
          </ac:spMkLst>
        </pc:spChg>
      </pc:sldChg>
      <pc:sldChg chg="modSp mod">
        <pc:chgData name="Frances Meek" userId="f3af35cc-3229-46e1-af36-3525661cfbd3" providerId="ADAL" clId="{F376D9DA-E273-402F-88CD-58A52DBC3E00}" dt="2022-06-01T13:01:57.079" v="152" actId="20577"/>
        <pc:sldMkLst>
          <pc:docMk/>
          <pc:sldMk cId="639185947" sldId="307"/>
        </pc:sldMkLst>
        <pc:spChg chg="mod">
          <ac:chgData name="Frances Meek" userId="f3af35cc-3229-46e1-af36-3525661cfbd3" providerId="ADAL" clId="{F376D9DA-E273-402F-88CD-58A52DBC3E00}" dt="2022-06-01T13:01:57.079" v="152" actId="20577"/>
          <ac:spMkLst>
            <pc:docMk/>
            <pc:sldMk cId="639185947" sldId="307"/>
            <ac:spMk id="6" creationId="{7E139491-A1F9-446A-A962-D8D49EB08F00}"/>
          </ac:spMkLst>
        </pc:spChg>
      </pc:sldChg>
      <pc:sldChg chg="addSp delSp modSp mod addCm delCm modCm">
        <pc:chgData name="Frances Meek" userId="f3af35cc-3229-46e1-af36-3525661cfbd3" providerId="ADAL" clId="{F376D9DA-E273-402F-88CD-58A52DBC3E00}" dt="2022-06-01T15:13:15.812" v="1168" actId="1076"/>
        <pc:sldMkLst>
          <pc:docMk/>
          <pc:sldMk cId="3979226011" sldId="308"/>
        </pc:sldMkLst>
        <pc:spChg chg="del">
          <ac:chgData name="Frances Meek" userId="f3af35cc-3229-46e1-af36-3525661cfbd3" providerId="ADAL" clId="{F376D9DA-E273-402F-88CD-58A52DBC3E00}" dt="2022-05-24T12:46:52.105" v="63" actId="478"/>
          <ac:spMkLst>
            <pc:docMk/>
            <pc:sldMk cId="3979226011" sldId="308"/>
            <ac:spMk id="8" creationId="{0F2489E1-C2AE-3ABA-965B-5CA4D65EFE76}"/>
          </ac:spMkLst>
        </pc:spChg>
        <pc:picChg chg="del">
          <ac:chgData name="Frances Meek" userId="f3af35cc-3229-46e1-af36-3525661cfbd3" providerId="ADAL" clId="{F376D9DA-E273-402F-88CD-58A52DBC3E00}" dt="2022-05-24T12:46:49.917" v="62" actId="478"/>
          <ac:picMkLst>
            <pc:docMk/>
            <pc:sldMk cId="3979226011" sldId="308"/>
            <ac:picMk id="3" creationId="{36B241DE-A7A3-2915-85B7-D8CA62B51D54}"/>
          </ac:picMkLst>
        </pc:picChg>
        <pc:picChg chg="mod">
          <ac:chgData name="Frances Meek" userId="f3af35cc-3229-46e1-af36-3525661cfbd3" providerId="ADAL" clId="{F376D9DA-E273-402F-88CD-58A52DBC3E00}" dt="2022-05-24T12:49:57.233" v="80" actId="1076"/>
          <ac:picMkLst>
            <pc:docMk/>
            <pc:sldMk cId="3979226011" sldId="308"/>
            <ac:picMk id="5" creationId="{9F319B15-F7C6-4A47-9199-60BCC6831A22}"/>
          </ac:picMkLst>
        </pc:picChg>
        <pc:picChg chg="mod">
          <ac:chgData name="Frances Meek" userId="f3af35cc-3229-46e1-af36-3525661cfbd3" providerId="ADAL" clId="{F376D9DA-E273-402F-88CD-58A52DBC3E00}" dt="2022-06-01T15:13:03.960" v="1163" actId="1076"/>
          <ac:picMkLst>
            <pc:docMk/>
            <pc:sldMk cId="3979226011" sldId="308"/>
            <ac:picMk id="6" creationId="{B003AB75-540C-419A-A73D-D842D8C487DD}"/>
          </ac:picMkLst>
        </pc:picChg>
        <pc:picChg chg="mod">
          <ac:chgData name="Frances Meek" userId="f3af35cc-3229-46e1-af36-3525661cfbd3" providerId="ADAL" clId="{F376D9DA-E273-402F-88CD-58A52DBC3E00}" dt="2022-06-01T15:13:15.812" v="1168" actId="1076"/>
          <ac:picMkLst>
            <pc:docMk/>
            <pc:sldMk cId="3979226011" sldId="308"/>
            <ac:picMk id="8" creationId="{17048F22-2837-4579-85F3-124B471098F8}"/>
          </ac:picMkLst>
        </pc:picChg>
        <pc:picChg chg="mod">
          <ac:chgData name="Frances Meek" userId="f3af35cc-3229-46e1-af36-3525661cfbd3" providerId="ADAL" clId="{F376D9DA-E273-402F-88CD-58A52DBC3E00}" dt="2022-06-01T14:03:22.103" v="556" actId="1076"/>
          <ac:picMkLst>
            <pc:docMk/>
            <pc:sldMk cId="3979226011" sldId="308"/>
            <ac:picMk id="9" creationId="{4D8FF41C-D09E-454C-ADD3-C636F509A25D}"/>
          </ac:picMkLst>
        </pc:picChg>
        <pc:picChg chg="add mod">
          <ac:chgData name="Frances Meek" userId="f3af35cc-3229-46e1-af36-3525661cfbd3" providerId="ADAL" clId="{F376D9DA-E273-402F-88CD-58A52DBC3E00}" dt="2022-06-01T15:13:06.324" v="1165" actId="1076"/>
          <ac:picMkLst>
            <pc:docMk/>
            <pc:sldMk cId="3979226011" sldId="308"/>
            <ac:picMk id="10" creationId="{8E0243E2-491B-B364-6B2B-E7DE675C15CB}"/>
          </ac:picMkLst>
        </pc:picChg>
        <pc:picChg chg="mod">
          <ac:chgData name="Frances Meek" userId="f3af35cc-3229-46e1-af36-3525661cfbd3" providerId="ADAL" clId="{F376D9DA-E273-402F-88CD-58A52DBC3E00}" dt="2022-06-01T14:03:20.811" v="555" actId="1076"/>
          <ac:picMkLst>
            <pc:docMk/>
            <pc:sldMk cId="3979226011" sldId="308"/>
            <ac:picMk id="11" creationId="{AE9A2AA5-8E19-40AB-ABB4-6C69C4410945}"/>
          </ac:picMkLst>
        </pc:picChg>
        <pc:picChg chg="add mod">
          <ac:chgData name="Frances Meek" userId="f3af35cc-3229-46e1-af36-3525661cfbd3" providerId="ADAL" clId="{F376D9DA-E273-402F-88CD-58A52DBC3E00}" dt="2022-05-24T12:47:00.344" v="69" actId="27614"/>
          <ac:picMkLst>
            <pc:docMk/>
            <pc:sldMk cId="3979226011" sldId="308"/>
            <ac:picMk id="12" creationId="{66F4C863-84B1-C42A-380F-A3318D212C25}"/>
          </ac:picMkLst>
        </pc:picChg>
        <pc:picChg chg="add del mod">
          <ac:chgData name="Frances Meek" userId="f3af35cc-3229-46e1-af36-3525661cfbd3" providerId="ADAL" clId="{F376D9DA-E273-402F-88CD-58A52DBC3E00}" dt="2022-06-01T14:05:59.964" v="563" actId="478"/>
          <ac:picMkLst>
            <pc:docMk/>
            <pc:sldMk cId="3979226011" sldId="308"/>
            <ac:picMk id="12" creationId="{DA787EE0-8E52-7ECA-7400-99D186ACB45B}"/>
          </ac:picMkLst>
        </pc:picChg>
        <pc:picChg chg="del mod">
          <ac:chgData name="Frances Meek" userId="f3af35cc-3229-46e1-af36-3525661cfbd3" providerId="ADAL" clId="{F376D9DA-E273-402F-88CD-58A52DBC3E00}" dt="2022-05-24T12:49:59.403" v="82" actId="478"/>
          <ac:picMkLst>
            <pc:docMk/>
            <pc:sldMk cId="3979226011" sldId="308"/>
            <ac:picMk id="13" creationId="{C98459B9-D101-4824-BC52-A966CF3EC9B6}"/>
          </ac:picMkLst>
        </pc:picChg>
        <pc:picChg chg="add del mod">
          <ac:chgData name="Frances Meek" userId="f3af35cc-3229-46e1-af36-3525661cfbd3" providerId="ADAL" clId="{F376D9DA-E273-402F-88CD-58A52DBC3E00}" dt="2022-05-24T12:49:53.429" v="77" actId="478"/>
          <ac:picMkLst>
            <pc:docMk/>
            <pc:sldMk cId="3979226011" sldId="308"/>
            <ac:picMk id="15" creationId="{9211E749-6E6A-4B2D-BCB1-9D409C524537}"/>
          </ac:picMkLst>
        </pc:picChg>
        <pc:picChg chg="add mod">
          <ac:chgData name="Frances Meek" userId="f3af35cc-3229-46e1-af36-3525661cfbd3" providerId="ADAL" clId="{F376D9DA-E273-402F-88CD-58A52DBC3E00}" dt="2022-06-01T15:13:07.419" v="1166" actId="1076"/>
          <ac:picMkLst>
            <pc:docMk/>
            <pc:sldMk cId="3979226011" sldId="308"/>
            <ac:picMk id="17" creationId="{33310B10-D808-729E-7E59-6863FE4D1EA7}"/>
          </ac:picMkLst>
        </pc:picChg>
      </pc:sldChg>
      <pc:sldChg chg="modSp mod addCm modCm">
        <pc:chgData name="Frances Meek" userId="f3af35cc-3229-46e1-af36-3525661cfbd3" providerId="ADAL" clId="{F376D9DA-E273-402F-88CD-58A52DBC3E00}" dt="2022-06-01T13:05:49.006" v="229" actId="20577"/>
        <pc:sldMkLst>
          <pc:docMk/>
          <pc:sldMk cId="3837550476" sldId="309"/>
        </pc:sldMkLst>
        <pc:spChg chg="mod">
          <ac:chgData name="Frances Meek" userId="f3af35cc-3229-46e1-af36-3525661cfbd3" providerId="ADAL" clId="{F376D9DA-E273-402F-88CD-58A52DBC3E00}" dt="2022-06-01T13:05:49.006" v="229" actId="20577"/>
          <ac:spMkLst>
            <pc:docMk/>
            <pc:sldMk cId="3837550476" sldId="309"/>
            <ac:spMk id="4" creationId="{C5AED35D-F009-4C6C-BE74-11E7A80DDC36}"/>
          </ac:spMkLst>
        </pc:spChg>
      </pc:sldChg>
      <pc:sldChg chg="addSp modSp mod">
        <pc:chgData name="Frances Meek" userId="f3af35cc-3229-46e1-af36-3525661cfbd3" providerId="ADAL" clId="{F376D9DA-E273-402F-88CD-58A52DBC3E00}" dt="2022-06-01T14:17:16.444" v="812" actId="313"/>
        <pc:sldMkLst>
          <pc:docMk/>
          <pc:sldMk cId="3209739012" sldId="310"/>
        </pc:sldMkLst>
        <pc:spChg chg="add mod">
          <ac:chgData name="Frances Meek" userId="f3af35cc-3229-46e1-af36-3525661cfbd3" providerId="ADAL" clId="{F376D9DA-E273-402F-88CD-58A52DBC3E00}" dt="2022-06-01T14:17:16.444" v="812" actId="313"/>
          <ac:spMkLst>
            <pc:docMk/>
            <pc:sldMk cId="3209739012" sldId="310"/>
            <ac:spMk id="3" creationId="{82E1E8C1-13C2-39F4-CCF1-E26E44E671DB}"/>
          </ac:spMkLst>
        </pc:spChg>
        <pc:picChg chg="mod">
          <ac:chgData name="Frances Meek" userId="f3af35cc-3229-46e1-af36-3525661cfbd3" providerId="ADAL" clId="{F376D9DA-E273-402F-88CD-58A52DBC3E00}" dt="2022-06-01T14:16:37.518" v="716"/>
          <ac:picMkLst>
            <pc:docMk/>
            <pc:sldMk cId="3209739012" sldId="310"/>
            <ac:picMk id="5" creationId="{FA42C68B-E6E9-486C-8F93-455C9B1B04F2}"/>
          </ac:picMkLst>
        </pc:picChg>
      </pc:sldChg>
      <pc:sldChg chg="modSp mod">
        <pc:chgData name="Frances Meek" userId="f3af35cc-3229-46e1-af36-3525661cfbd3" providerId="ADAL" clId="{F376D9DA-E273-402F-88CD-58A52DBC3E00}" dt="2022-06-01T13:03:13.892" v="219" actId="20577"/>
        <pc:sldMkLst>
          <pc:docMk/>
          <pc:sldMk cId="1959855485" sldId="311"/>
        </pc:sldMkLst>
        <pc:spChg chg="mod">
          <ac:chgData name="Frances Meek" userId="f3af35cc-3229-46e1-af36-3525661cfbd3" providerId="ADAL" clId="{F376D9DA-E273-402F-88CD-58A52DBC3E00}" dt="2022-06-01T13:03:13.892" v="219" actId="20577"/>
          <ac:spMkLst>
            <pc:docMk/>
            <pc:sldMk cId="1959855485" sldId="311"/>
            <ac:spMk id="4" creationId="{C5AED35D-F009-4C6C-BE74-11E7A80DDC36}"/>
          </ac:spMkLst>
        </pc:spChg>
      </pc:sldChg>
      <pc:sldChg chg="modSp mod">
        <pc:chgData name="Frances Meek" userId="f3af35cc-3229-46e1-af36-3525661cfbd3" providerId="ADAL" clId="{F376D9DA-E273-402F-88CD-58A52DBC3E00}" dt="2022-06-01T13:11:52.256" v="276" actId="20577"/>
        <pc:sldMkLst>
          <pc:docMk/>
          <pc:sldMk cId="4248556420" sldId="314"/>
        </pc:sldMkLst>
        <pc:spChg chg="mod">
          <ac:chgData name="Frances Meek" userId="f3af35cc-3229-46e1-af36-3525661cfbd3" providerId="ADAL" clId="{F376D9DA-E273-402F-88CD-58A52DBC3E00}" dt="2022-06-01T13:11:52.256" v="276" actId="20577"/>
          <ac:spMkLst>
            <pc:docMk/>
            <pc:sldMk cId="4248556420" sldId="314"/>
            <ac:spMk id="3" creationId="{96959814-9071-EAE4-F7AC-76E25031DC00}"/>
          </ac:spMkLst>
        </pc:spChg>
      </pc:sldChg>
      <pc:sldChg chg="modSp mod">
        <pc:chgData name="Frances Meek" userId="f3af35cc-3229-46e1-af36-3525661cfbd3" providerId="ADAL" clId="{F376D9DA-E273-402F-88CD-58A52DBC3E00}" dt="2022-06-01T13:13:21.582" v="278" actId="20577"/>
        <pc:sldMkLst>
          <pc:docMk/>
          <pc:sldMk cId="1627569597" sldId="315"/>
        </pc:sldMkLst>
        <pc:spChg chg="mod">
          <ac:chgData name="Frances Meek" userId="f3af35cc-3229-46e1-af36-3525661cfbd3" providerId="ADAL" clId="{F376D9DA-E273-402F-88CD-58A52DBC3E00}" dt="2022-06-01T13:13:21.582" v="278" actId="20577"/>
          <ac:spMkLst>
            <pc:docMk/>
            <pc:sldMk cId="1627569597" sldId="315"/>
            <ac:spMk id="3" creationId="{78101E67-B0F1-726C-7F13-95384EA7B94E}"/>
          </ac:spMkLst>
        </pc:spChg>
      </pc:sldChg>
      <pc:sldChg chg="addSp modSp mod">
        <pc:chgData name="Frances Meek" userId="f3af35cc-3229-46e1-af36-3525661cfbd3" providerId="ADAL" clId="{F376D9DA-E273-402F-88CD-58A52DBC3E00}" dt="2022-06-01T13:51:27.934" v="361" actId="255"/>
        <pc:sldMkLst>
          <pc:docMk/>
          <pc:sldMk cId="813545271" sldId="316"/>
        </pc:sldMkLst>
        <pc:spChg chg="mod">
          <ac:chgData name="Frances Meek" userId="f3af35cc-3229-46e1-af36-3525661cfbd3" providerId="ADAL" clId="{F376D9DA-E273-402F-88CD-58A52DBC3E00}" dt="2022-06-01T13:48:10.155" v="327" actId="20577"/>
          <ac:spMkLst>
            <pc:docMk/>
            <pc:sldMk cId="813545271" sldId="316"/>
            <ac:spMk id="4" creationId="{B951880E-2548-03FC-30F1-559F3B67733E}"/>
          </ac:spMkLst>
        </pc:spChg>
        <pc:spChg chg="add mod">
          <ac:chgData name="Frances Meek" userId="f3af35cc-3229-46e1-af36-3525661cfbd3" providerId="ADAL" clId="{F376D9DA-E273-402F-88CD-58A52DBC3E00}" dt="2022-06-01T13:51:27.934" v="361" actId="255"/>
          <ac:spMkLst>
            <pc:docMk/>
            <pc:sldMk cId="813545271" sldId="316"/>
            <ac:spMk id="5" creationId="{0410C826-2FD6-7E0F-5123-D40F86D424BC}"/>
          </ac:spMkLst>
        </pc:spChg>
      </pc:sldChg>
      <pc:sldChg chg="addSp delSp modSp mod">
        <pc:chgData name="Frances Meek" userId="f3af35cc-3229-46e1-af36-3525661cfbd3" providerId="ADAL" clId="{F376D9DA-E273-402F-88CD-58A52DBC3E00}" dt="2022-06-01T15:16:05.399" v="1199" actId="2711"/>
        <pc:sldMkLst>
          <pc:docMk/>
          <pc:sldMk cId="1986818962" sldId="317"/>
        </pc:sldMkLst>
        <pc:spChg chg="mod">
          <ac:chgData name="Frances Meek" userId="f3af35cc-3229-46e1-af36-3525661cfbd3" providerId="ADAL" clId="{F376D9DA-E273-402F-88CD-58A52DBC3E00}" dt="2022-06-01T14:09:27.122" v="667" actId="20577"/>
          <ac:spMkLst>
            <pc:docMk/>
            <pc:sldMk cId="1986818962" sldId="317"/>
            <ac:spMk id="2" creationId="{0087FBAB-EC07-CF2D-1C34-B286203D1DEB}"/>
          </ac:spMkLst>
        </pc:spChg>
        <pc:spChg chg="mod">
          <ac:chgData name="Frances Meek" userId="f3af35cc-3229-46e1-af36-3525661cfbd3" providerId="ADAL" clId="{F376D9DA-E273-402F-88CD-58A52DBC3E00}" dt="2022-06-01T15:16:05.399" v="1199" actId="2711"/>
          <ac:spMkLst>
            <pc:docMk/>
            <pc:sldMk cId="1986818962" sldId="317"/>
            <ac:spMk id="3" creationId="{F542AE94-456A-179B-63E4-5401D70ED4F9}"/>
          </ac:spMkLst>
        </pc:spChg>
        <pc:spChg chg="add del mod">
          <ac:chgData name="Frances Meek" userId="f3af35cc-3229-46e1-af36-3525661cfbd3" providerId="ADAL" clId="{F376D9DA-E273-402F-88CD-58A52DBC3E00}" dt="2022-06-01T14:29:46.780" v="1152" actId="21"/>
          <ac:spMkLst>
            <pc:docMk/>
            <pc:sldMk cId="1986818962" sldId="317"/>
            <ac:spMk id="4" creationId="{5D1D8E2A-5FDB-0B56-2B18-51010DF9D2D5}"/>
          </ac:spMkLst>
        </pc:spChg>
      </pc:sldChg>
      <pc:sldChg chg="modSp mod">
        <pc:chgData name="Frances Meek" userId="f3af35cc-3229-46e1-af36-3525661cfbd3" providerId="ADAL" clId="{F376D9DA-E273-402F-88CD-58A52DBC3E00}" dt="2022-06-01T13:00:42.460" v="111" actId="20577"/>
        <pc:sldMkLst>
          <pc:docMk/>
          <pc:sldMk cId="2671712240" sldId="318"/>
        </pc:sldMkLst>
        <pc:spChg chg="mod">
          <ac:chgData name="Frances Meek" userId="f3af35cc-3229-46e1-af36-3525661cfbd3" providerId="ADAL" clId="{F376D9DA-E273-402F-88CD-58A52DBC3E00}" dt="2022-06-01T13:00:42.460" v="111" actId="20577"/>
          <ac:spMkLst>
            <pc:docMk/>
            <pc:sldMk cId="2671712240" sldId="318"/>
            <ac:spMk id="3" creationId="{96959814-9071-EAE4-F7AC-76E25031DC00}"/>
          </ac:spMkLst>
        </pc:spChg>
      </pc:sldChg>
      <pc:sldChg chg="addSp modSp new mod">
        <pc:chgData name="Frances Meek" userId="f3af35cc-3229-46e1-af36-3525661cfbd3" providerId="ADAL" clId="{F376D9DA-E273-402F-88CD-58A52DBC3E00}" dt="2022-06-01T14:29:59.602" v="1161" actId="1076"/>
        <pc:sldMkLst>
          <pc:docMk/>
          <pc:sldMk cId="3337580201" sldId="319"/>
        </pc:sldMkLst>
        <pc:spChg chg="mod">
          <ac:chgData name="Frances Meek" userId="f3af35cc-3229-46e1-af36-3525661cfbd3" providerId="ADAL" clId="{F376D9DA-E273-402F-88CD-58A52DBC3E00}" dt="2022-06-01T14:19:58.914" v="961" actId="20577"/>
          <ac:spMkLst>
            <pc:docMk/>
            <pc:sldMk cId="3337580201" sldId="319"/>
            <ac:spMk id="2" creationId="{C5DC93FD-060A-E5B0-14CB-46A1A8AD58A8}"/>
          </ac:spMkLst>
        </pc:spChg>
        <pc:spChg chg="mod">
          <ac:chgData name="Frances Meek" userId="f3af35cc-3229-46e1-af36-3525661cfbd3" providerId="ADAL" clId="{F376D9DA-E273-402F-88CD-58A52DBC3E00}" dt="2022-06-01T14:29:51.682" v="1159" actId="5793"/>
          <ac:spMkLst>
            <pc:docMk/>
            <pc:sldMk cId="3337580201" sldId="319"/>
            <ac:spMk id="3" creationId="{EAD87E05-4B49-E732-779C-2064CC31FDEE}"/>
          </ac:spMkLst>
        </pc:spChg>
        <pc:spChg chg="add mod">
          <ac:chgData name="Frances Meek" userId="f3af35cc-3229-46e1-af36-3525661cfbd3" providerId="ADAL" clId="{F376D9DA-E273-402F-88CD-58A52DBC3E00}" dt="2022-06-01T14:29:59.602" v="1161" actId="1076"/>
          <ac:spMkLst>
            <pc:docMk/>
            <pc:sldMk cId="3337580201" sldId="319"/>
            <ac:spMk id="4" creationId="{4BD27418-D102-177E-7D37-B63466912C75}"/>
          </ac:spMkLst>
        </pc:spChg>
      </pc:sldChg>
      <pc:sldChg chg="modSp add mod">
        <pc:chgData name="Frances Meek" userId="f3af35cc-3229-46e1-af36-3525661cfbd3" providerId="ADAL" clId="{F376D9DA-E273-402F-88CD-58A52DBC3E00}" dt="2022-06-01T14:27:32.299" v="1018" actId="114"/>
        <pc:sldMkLst>
          <pc:docMk/>
          <pc:sldMk cId="3438535452" sldId="320"/>
        </pc:sldMkLst>
        <pc:spChg chg="mod">
          <ac:chgData name="Frances Meek" userId="f3af35cc-3229-46e1-af36-3525661cfbd3" providerId="ADAL" clId="{F376D9DA-E273-402F-88CD-58A52DBC3E00}" dt="2022-06-01T14:27:32.299" v="1018" actId="114"/>
          <ac:spMkLst>
            <pc:docMk/>
            <pc:sldMk cId="3438535452" sldId="320"/>
            <ac:spMk id="3" creationId="{F542AE94-456A-179B-63E4-5401D70ED4F9}"/>
          </ac:spMkLst>
        </pc:spChg>
      </pc:sldChg>
      <pc:sldChg chg="modSp mod">
        <pc:chgData name="Frances Meek" userId="f3af35cc-3229-46e1-af36-3525661cfbd3" providerId="ADAL" clId="{F376D9DA-E273-402F-88CD-58A52DBC3E00}" dt="2022-06-01T15:11:49.524" v="1162" actId="20577"/>
        <pc:sldMkLst>
          <pc:docMk/>
          <pc:sldMk cId="3997623350" sldId="322"/>
        </pc:sldMkLst>
        <pc:spChg chg="mod">
          <ac:chgData name="Frances Meek" userId="f3af35cc-3229-46e1-af36-3525661cfbd3" providerId="ADAL" clId="{F376D9DA-E273-402F-88CD-58A52DBC3E00}" dt="2022-06-01T15:11:49.524" v="1162" actId="20577"/>
          <ac:spMkLst>
            <pc:docMk/>
            <pc:sldMk cId="3997623350" sldId="322"/>
            <ac:spMk id="26" creationId="{D4D2C9E5-41BE-494E-84A0-DC1FB2634DAF}"/>
          </ac:spMkLst>
        </pc:spChg>
      </pc:sldChg>
    </pc:docChg>
  </pc:docChgLst>
  <pc:docChgLst>
    <pc:chgData name="Frances Meek" userId="f3af35cc-3229-46e1-af36-3525661cfbd3" providerId="ADAL" clId="{A6817BFB-24A8-414D-9EC0-11B69466F292}"/>
    <pc:docChg chg="custSel modSld">
      <pc:chgData name="Frances Meek" userId="f3af35cc-3229-46e1-af36-3525661cfbd3" providerId="ADAL" clId="{A6817BFB-24A8-414D-9EC0-11B69466F292}" dt="2022-06-10T12:55:17.560" v="2" actId="478"/>
      <pc:docMkLst>
        <pc:docMk/>
      </pc:docMkLst>
      <pc:sldChg chg="modSp mod">
        <pc:chgData name="Frances Meek" userId="f3af35cc-3229-46e1-af36-3525661cfbd3" providerId="ADAL" clId="{A6817BFB-24A8-414D-9EC0-11B69466F292}" dt="2022-06-10T12:54:17.694" v="0" actId="113"/>
        <pc:sldMkLst>
          <pc:docMk/>
          <pc:sldMk cId="3979226011" sldId="308"/>
        </pc:sldMkLst>
        <pc:spChg chg="mod">
          <ac:chgData name="Frances Meek" userId="f3af35cc-3229-46e1-af36-3525661cfbd3" providerId="ADAL" clId="{A6817BFB-24A8-414D-9EC0-11B69466F292}" dt="2022-06-10T12:54:17.694" v="0" actId="113"/>
          <ac:spMkLst>
            <pc:docMk/>
            <pc:sldMk cId="3979226011" sldId="308"/>
            <ac:spMk id="15" creationId="{35AD8946-B44D-4839-A63C-03F79AF49D71}"/>
          </ac:spMkLst>
        </pc:spChg>
      </pc:sldChg>
      <pc:sldChg chg="delSp modSp mod">
        <pc:chgData name="Frances Meek" userId="f3af35cc-3229-46e1-af36-3525661cfbd3" providerId="ADAL" clId="{A6817BFB-24A8-414D-9EC0-11B69466F292}" dt="2022-06-10T12:55:17.560" v="2" actId="478"/>
        <pc:sldMkLst>
          <pc:docMk/>
          <pc:sldMk cId="813545271" sldId="316"/>
        </pc:sldMkLst>
        <pc:spChg chg="del mod">
          <ac:chgData name="Frances Meek" userId="f3af35cc-3229-46e1-af36-3525661cfbd3" providerId="ADAL" clId="{A6817BFB-24A8-414D-9EC0-11B69466F292}" dt="2022-06-10T12:55:17.560" v="2" actId="478"/>
          <ac:spMkLst>
            <pc:docMk/>
            <pc:sldMk cId="813545271" sldId="316"/>
            <ac:spMk id="4" creationId="{B951880E-2548-03FC-30F1-559F3B67733E}"/>
          </ac:spMkLst>
        </pc:spChg>
      </pc:sldChg>
    </pc:docChg>
  </pc:docChgLst>
  <pc:docChgLst>
    <pc:chgData name="Ewen Trafford" userId="e520b4bf-a196-48b7-bc10-b1590a457daa" providerId="ADAL" clId="{6C03F216-C3BC-47B5-8764-F031155F8633}"/>
    <pc:docChg chg="custSel modSld">
      <pc:chgData name="Ewen Trafford" userId="e520b4bf-a196-48b7-bc10-b1590a457daa" providerId="ADAL" clId="{6C03F216-C3BC-47B5-8764-F031155F8633}" dt="2022-07-20T09:10:09.780" v="160" actId="20577"/>
      <pc:docMkLst>
        <pc:docMk/>
      </pc:docMkLst>
      <pc:sldChg chg="modSp mod">
        <pc:chgData name="Ewen Trafford" userId="e520b4bf-a196-48b7-bc10-b1590a457daa" providerId="ADAL" clId="{6C03F216-C3BC-47B5-8764-F031155F8633}" dt="2022-07-20T09:10:09.780" v="160" actId="20577"/>
        <pc:sldMkLst>
          <pc:docMk/>
          <pc:sldMk cId="2450036879" sldId="324"/>
        </pc:sldMkLst>
        <pc:graphicFrameChg chg="modGraphic">
          <ac:chgData name="Ewen Trafford" userId="e520b4bf-a196-48b7-bc10-b1590a457daa" providerId="ADAL" clId="{6C03F216-C3BC-47B5-8764-F031155F8633}" dt="2022-07-20T09:10:09.780" v="160" actId="20577"/>
          <ac:graphicFrameMkLst>
            <pc:docMk/>
            <pc:sldMk cId="2450036879" sldId="324"/>
            <ac:graphicFrameMk id="7" creationId="{21663884-8A5D-DD9A-B4F0-E1EED248AA0D}"/>
          </ac:graphicFrameMkLst>
        </pc:graphicFrameChg>
      </pc:sldChg>
    </pc:docChg>
  </pc:docChgLst>
  <pc:docChgLst>
    <pc:chgData name="Guest User" userId="S::urn:spo:anon#5c1cd7b39cb30a75ca1cea0fb2ba435992d6c6a6b484349a9ca7505025227c67::" providerId="AD" clId="Web-{C50870E9-6EF1-03AB-CB1D-15364C36965A}"/>
    <pc:docChg chg="addSld delSld modSld sldOrd">
      <pc:chgData name="Guest User" userId="S::urn:spo:anon#5c1cd7b39cb30a75ca1cea0fb2ba435992d6c6a6b484349a9ca7505025227c67::" providerId="AD" clId="Web-{C50870E9-6EF1-03AB-CB1D-15364C36965A}" dt="2022-05-24T13:31:43.176" v="1598" actId="14100"/>
      <pc:docMkLst>
        <pc:docMk/>
      </pc:docMkLst>
      <pc:sldChg chg="modSp delCm modCm">
        <pc:chgData name="Guest User" userId="S::urn:spo:anon#5c1cd7b39cb30a75ca1cea0fb2ba435992d6c6a6b484349a9ca7505025227c67::" providerId="AD" clId="Web-{C50870E9-6EF1-03AB-CB1D-15364C36965A}" dt="2022-05-24T13:31:17.722" v="1596"/>
        <pc:sldMkLst>
          <pc:docMk/>
          <pc:sldMk cId="3993973292" sldId="274"/>
        </pc:sldMkLst>
        <pc:spChg chg="mod">
          <ac:chgData name="Guest User" userId="S::urn:spo:anon#5c1cd7b39cb30a75ca1cea0fb2ba435992d6c6a6b484349a9ca7505025227c67::" providerId="AD" clId="Web-{C50870E9-6EF1-03AB-CB1D-15364C36965A}" dt="2022-05-24T09:34:19.103" v="436" actId="20577"/>
          <ac:spMkLst>
            <pc:docMk/>
            <pc:sldMk cId="3993973292" sldId="274"/>
            <ac:spMk id="2" creationId="{00000000-0000-0000-0000-000000000000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39:23.437" v="559" actId="20577"/>
          <ac:spMkLst>
            <pc:docMk/>
            <pc:sldMk cId="3993973292" sldId="274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10:59:09.767" v="1184" actId="20577"/>
        <pc:sldMkLst>
          <pc:docMk/>
          <pc:sldMk cId="3137792006" sldId="277"/>
        </pc:sldMkLst>
        <pc:spChg chg="mod">
          <ac:chgData name="Guest User" userId="S::urn:spo:anon#5c1cd7b39cb30a75ca1cea0fb2ba435992d6c6a6b484349a9ca7505025227c67::" providerId="AD" clId="Web-{C50870E9-6EF1-03AB-CB1D-15364C36965A}" dt="2022-05-24T10:59:09.767" v="1184" actId="20577"/>
          <ac:spMkLst>
            <pc:docMk/>
            <pc:sldMk cId="3137792006" sldId="277"/>
            <ac:spMk id="3" creationId="{00000000-0000-0000-0000-000000000000}"/>
          </ac:spMkLst>
        </pc:spChg>
      </pc:sldChg>
      <pc:sldChg chg="addSp delSp modSp addCm">
        <pc:chgData name="Guest User" userId="S::urn:spo:anon#5c1cd7b39cb30a75ca1cea0fb2ba435992d6c6a6b484349a9ca7505025227c67::" providerId="AD" clId="Web-{C50870E9-6EF1-03AB-CB1D-15364C36965A}" dt="2022-05-24T09:16:34.441" v="307" actId="20577"/>
        <pc:sldMkLst>
          <pc:docMk/>
          <pc:sldMk cId="1351839580" sldId="294"/>
        </pc:sldMkLst>
        <pc:spChg chg="mod">
          <ac:chgData name="Guest User" userId="S::urn:spo:anon#5c1cd7b39cb30a75ca1cea0fb2ba435992d6c6a6b484349a9ca7505025227c67::" providerId="AD" clId="Web-{C50870E9-6EF1-03AB-CB1D-15364C36965A}" dt="2022-05-24T08:58:51.248" v="152" actId="20577"/>
          <ac:spMkLst>
            <pc:docMk/>
            <pc:sldMk cId="1351839580" sldId="294"/>
            <ac:spMk id="2" creationId="{00000000-0000-0000-0000-000000000000}"/>
          </ac:spMkLst>
        </pc:spChg>
        <pc:spChg chg="add mod">
          <ac:chgData name="Guest User" userId="S::urn:spo:anon#5c1cd7b39cb30a75ca1cea0fb2ba435992d6c6a6b484349a9ca7505025227c67::" providerId="AD" clId="Web-{C50870E9-6EF1-03AB-CB1D-15364C36965A}" dt="2022-05-24T09:13:11.796" v="277" actId="1076"/>
          <ac:spMkLst>
            <pc:docMk/>
            <pc:sldMk cId="1351839580" sldId="294"/>
            <ac:spMk id="3" creationId="{CDDA6D2C-3FB8-7389-0564-F3A1F0EE7142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16:34.441" v="307" actId="20577"/>
          <ac:spMkLst>
            <pc:docMk/>
            <pc:sldMk cId="1351839580" sldId="294"/>
            <ac:spMk id="7" creationId="{9F5610B5-B857-41E6-8A9E-1F8B928123A4}"/>
          </ac:spMkLst>
        </pc:spChg>
        <pc:spChg chg="del">
          <ac:chgData name="Guest User" userId="S::urn:spo:anon#5c1cd7b39cb30a75ca1cea0fb2ba435992d6c6a6b484349a9ca7505025227c67::" providerId="AD" clId="Web-{C50870E9-6EF1-03AB-CB1D-15364C36965A}" dt="2022-05-24T08:59:53.327" v="154"/>
          <ac:spMkLst>
            <pc:docMk/>
            <pc:sldMk cId="1351839580" sldId="294"/>
            <ac:spMk id="9" creationId="{0E22F708-6B73-49F0-B8C3-FF211A0897A3}"/>
          </ac:spMkLst>
        </pc:spChg>
        <pc:picChg chg="del">
          <ac:chgData name="Guest User" userId="S::urn:spo:anon#5c1cd7b39cb30a75ca1cea0fb2ba435992d6c6a6b484349a9ca7505025227c67::" providerId="AD" clId="Web-{C50870E9-6EF1-03AB-CB1D-15364C36965A}" dt="2022-05-24T08:59:50.671" v="153"/>
          <ac:picMkLst>
            <pc:docMk/>
            <pc:sldMk cId="1351839580" sldId="294"/>
            <ac:picMk id="8" creationId="{16D46C16-92A3-45F0-B70B-CECED0C8A5DB}"/>
          </ac:picMkLst>
        </pc:picChg>
      </pc:sldChg>
      <pc:sldChg chg="modSp delCm">
        <pc:chgData name="Guest User" userId="S::urn:spo:anon#5c1cd7b39cb30a75ca1cea0fb2ba435992d6c6a6b484349a9ca7505025227c67::" providerId="AD" clId="Web-{C50870E9-6EF1-03AB-CB1D-15364C36965A}" dt="2022-05-24T11:35:57.327" v="1485"/>
        <pc:sldMkLst>
          <pc:docMk/>
          <pc:sldMk cId="2939916080" sldId="299"/>
        </pc:sldMkLst>
        <pc:spChg chg="mod">
          <ac:chgData name="Guest User" userId="S::urn:spo:anon#5c1cd7b39cb30a75ca1cea0fb2ba435992d6c6a6b484349a9ca7505025227c67::" providerId="AD" clId="Web-{C50870E9-6EF1-03AB-CB1D-15364C36965A}" dt="2022-05-24T11:35:52.561" v="1484" actId="20577"/>
          <ac:spMkLst>
            <pc:docMk/>
            <pc:sldMk cId="2939916080" sldId="299"/>
            <ac:spMk id="3" creationId="{00000000-0000-0000-0000-000000000000}"/>
          </ac:spMkLst>
        </pc:spChg>
      </pc:sldChg>
      <pc:sldChg chg="del">
        <pc:chgData name="Guest User" userId="S::urn:spo:anon#5c1cd7b39cb30a75ca1cea0fb2ba435992d6c6a6b484349a9ca7505025227c67::" providerId="AD" clId="Web-{C50870E9-6EF1-03AB-CB1D-15364C36965A}" dt="2022-05-24T11:33:28.855" v="1462"/>
        <pc:sldMkLst>
          <pc:docMk/>
          <pc:sldMk cId="3911799715" sldId="300"/>
        </pc:sldMkLst>
      </pc:sldChg>
      <pc:sldChg chg="modSp">
        <pc:chgData name="Guest User" userId="S::urn:spo:anon#5c1cd7b39cb30a75ca1cea0fb2ba435992d6c6a6b484349a9ca7505025227c67::" providerId="AD" clId="Web-{C50870E9-6EF1-03AB-CB1D-15364C36965A}" dt="2022-05-24T09:27:30.063" v="383" actId="20577"/>
        <pc:sldMkLst>
          <pc:docMk/>
          <pc:sldMk cId="4146092675" sldId="301"/>
        </pc:sldMkLst>
        <pc:spChg chg="mod">
          <ac:chgData name="Guest User" userId="S::urn:spo:anon#5c1cd7b39cb30a75ca1cea0fb2ba435992d6c6a6b484349a9ca7505025227c67::" providerId="AD" clId="Web-{C50870E9-6EF1-03AB-CB1D-15364C36965A}" dt="2022-05-24T09:27:30.063" v="383" actId="20577"/>
          <ac:spMkLst>
            <pc:docMk/>
            <pc:sldMk cId="4146092675" sldId="301"/>
            <ac:spMk id="2" creationId="{ECB39143-43DB-404B-999A-68A64BABF4DE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27:17.751" v="381" actId="20577"/>
          <ac:spMkLst>
            <pc:docMk/>
            <pc:sldMk cId="4146092675" sldId="301"/>
            <ac:spMk id="4" creationId="{AD0D0778-949E-4414-BC9B-77E033DFFAA2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09:41:11.143" v="562" actId="20577"/>
        <pc:sldMkLst>
          <pc:docMk/>
          <pc:sldMk cId="1274149409" sldId="302"/>
        </pc:sldMkLst>
        <pc:spChg chg="mod">
          <ac:chgData name="Guest User" userId="S::urn:spo:anon#5c1cd7b39cb30a75ca1cea0fb2ba435992d6c6a6b484349a9ca7505025227c67::" providerId="AD" clId="Web-{C50870E9-6EF1-03AB-CB1D-15364C36965A}" dt="2022-05-24T09:41:11.143" v="562" actId="20577"/>
          <ac:spMkLst>
            <pc:docMk/>
            <pc:sldMk cId="1274149409" sldId="302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10:28:08.449" v="1150" actId="20577"/>
        <pc:sldMkLst>
          <pc:docMk/>
          <pc:sldMk cId="1875858968" sldId="303"/>
        </pc:sldMkLst>
        <pc:spChg chg="mod">
          <ac:chgData name="Guest User" userId="S::urn:spo:anon#5c1cd7b39cb30a75ca1cea0fb2ba435992d6c6a6b484349a9ca7505025227c67::" providerId="AD" clId="Web-{C50870E9-6EF1-03AB-CB1D-15364C36965A}" dt="2022-05-24T10:28:08.449" v="1150" actId="20577"/>
          <ac:spMkLst>
            <pc:docMk/>
            <pc:sldMk cId="1875858968" sldId="303"/>
            <ac:spMk id="3" creationId="{00000000-0000-0000-0000-000000000000}"/>
          </ac:spMkLst>
        </pc:spChg>
      </pc:sldChg>
      <pc:sldChg chg="modSp modNotes">
        <pc:chgData name="Guest User" userId="S::urn:spo:anon#5c1cd7b39cb30a75ca1cea0fb2ba435992d6c6a6b484349a9ca7505025227c67::" providerId="AD" clId="Web-{C50870E9-6EF1-03AB-CB1D-15364C36965A}" dt="2022-05-24T11:55:01.803" v="1587" actId="20577"/>
        <pc:sldMkLst>
          <pc:docMk/>
          <pc:sldMk cId="681281634" sldId="304"/>
        </pc:sldMkLst>
        <pc:spChg chg="mod">
          <ac:chgData name="Guest User" userId="S::urn:spo:anon#5c1cd7b39cb30a75ca1cea0fb2ba435992d6c6a6b484349a9ca7505025227c67::" providerId="AD" clId="Web-{C50870E9-6EF1-03AB-CB1D-15364C36965A}" dt="2022-05-24T11:55:01.803" v="1587" actId="20577"/>
          <ac:spMkLst>
            <pc:docMk/>
            <pc:sldMk cId="681281634" sldId="304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10:18:55.578" v="978" actId="20577"/>
        <pc:sldMkLst>
          <pc:docMk/>
          <pc:sldMk cId="1245899220" sldId="305"/>
        </pc:sldMkLst>
        <pc:spChg chg="mod">
          <ac:chgData name="Guest User" userId="S::urn:spo:anon#5c1cd7b39cb30a75ca1cea0fb2ba435992d6c6a6b484349a9ca7505025227c67::" providerId="AD" clId="Web-{C50870E9-6EF1-03AB-CB1D-15364C36965A}" dt="2022-05-24T10:18:55.578" v="978" actId="20577"/>
          <ac:spMkLst>
            <pc:docMk/>
            <pc:sldMk cId="1245899220" sldId="305"/>
            <ac:spMk id="3" creationId="{00000000-0000-0000-0000-000000000000}"/>
          </ac:spMkLst>
        </pc:spChg>
        <pc:picChg chg="mod">
          <ac:chgData name="Guest User" userId="S::urn:spo:anon#5c1cd7b39cb30a75ca1cea0fb2ba435992d6c6a6b484349a9ca7505025227c67::" providerId="AD" clId="Web-{C50870E9-6EF1-03AB-CB1D-15364C36965A}" dt="2022-05-24T09:50:37.185" v="672" actId="1076"/>
          <ac:picMkLst>
            <pc:docMk/>
            <pc:sldMk cId="1245899220" sldId="305"/>
            <ac:picMk id="9" creationId="{6B2C2443-1A77-46BF-B2F8-964EF726DF1E}"/>
          </ac:picMkLst>
        </pc:picChg>
      </pc:sldChg>
      <pc:sldChg chg="modSp">
        <pc:chgData name="Guest User" userId="S::urn:spo:anon#5c1cd7b39cb30a75ca1cea0fb2ba435992d6c6a6b484349a9ca7505025227c67::" providerId="AD" clId="Web-{C50870E9-6EF1-03AB-CB1D-15364C36965A}" dt="2022-05-24T10:01:30.667" v="791" actId="20577"/>
        <pc:sldMkLst>
          <pc:docMk/>
          <pc:sldMk cId="2779867094" sldId="306"/>
        </pc:sldMkLst>
        <pc:spChg chg="mod">
          <ac:chgData name="Guest User" userId="S::urn:spo:anon#5c1cd7b39cb30a75ca1cea0fb2ba435992d6c6a6b484349a9ca7505025227c67::" providerId="AD" clId="Web-{C50870E9-6EF1-03AB-CB1D-15364C36965A}" dt="2022-05-24T10:01:30.667" v="791" actId="20577"/>
          <ac:spMkLst>
            <pc:docMk/>
            <pc:sldMk cId="2779867094" sldId="306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09:17:54.849" v="310" actId="20577"/>
        <pc:sldMkLst>
          <pc:docMk/>
          <pc:sldMk cId="639185947" sldId="307"/>
        </pc:sldMkLst>
        <pc:spChg chg="mod">
          <ac:chgData name="Guest User" userId="S::urn:spo:anon#5c1cd7b39cb30a75ca1cea0fb2ba435992d6c6a6b484349a9ca7505025227c67::" providerId="AD" clId="Web-{C50870E9-6EF1-03AB-CB1D-15364C36965A}" dt="2022-05-24T09:17:54.849" v="310" actId="20577"/>
          <ac:spMkLst>
            <pc:docMk/>
            <pc:sldMk cId="639185947" sldId="307"/>
            <ac:spMk id="4" creationId="{DDDB30AC-431A-410C-94CB-E2E50716CA4B}"/>
          </ac:spMkLst>
        </pc:spChg>
      </pc:sldChg>
      <pc:sldChg chg="addSp modSp addCm">
        <pc:chgData name="Guest User" userId="S::urn:spo:anon#5c1cd7b39cb30a75ca1cea0fb2ba435992d6c6a6b484349a9ca7505025227c67::" providerId="AD" clId="Web-{C50870E9-6EF1-03AB-CB1D-15364C36965A}" dt="2022-05-24T13:31:43.176" v="1598" actId="14100"/>
        <pc:sldMkLst>
          <pc:docMk/>
          <pc:sldMk cId="3979226011" sldId="308"/>
        </pc:sldMkLst>
        <pc:spChg chg="mod">
          <ac:chgData name="Guest User" userId="S::urn:spo:anon#5c1cd7b39cb30a75ca1cea0fb2ba435992d6c6a6b484349a9ca7505025227c67::" providerId="AD" clId="Web-{C50870E9-6EF1-03AB-CB1D-15364C36965A}" dt="2022-05-24T11:27:16.910" v="1392" actId="20577"/>
          <ac:spMkLst>
            <pc:docMk/>
            <pc:sldMk cId="3979226011" sldId="308"/>
            <ac:spMk id="4" creationId="{31D1D560-E2D2-4E0C-981E-4F1AB853B238}"/>
          </ac:spMkLst>
        </pc:spChg>
        <pc:spChg chg="add mod">
          <ac:chgData name="Guest User" userId="S::urn:spo:anon#5c1cd7b39cb30a75ca1cea0fb2ba435992d6c6a6b484349a9ca7505025227c67::" providerId="AD" clId="Web-{C50870E9-6EF1-03AB-CB1D-15364C36965A}" dt="2022-05-24T11:31:00.930" v="1412" actId="1076"/>
          <ac:spMkLst>
            <pc:docMk/>
            <pc:sldMk cId="3979226011" sldId="308"/>
            <ac:spMk id="8" creationId="{0F2489E1-C2AE-3ABA-965B-5CA4D65EFE76}"/>
          </ac:spMkLst>
        </pc:spChg>
        <pc:picChg chg="add mod modCrop">
          <ac:chgData name="Guest User" userId="S::urn:spo:anon#5c1cd7b39cb30a75ca1cea0fb2ba435992d6c6a6b484349a9ca7505025227c67::" providerId="AD" clId="Web-{C50870E9-6EF1-03AB-CB1D-15364C36965A}" dt="2022-05-24T11:31:13.509" v="1416" actId="1076"/>
          <ac:picMkLst>
            <pc:docMk/>
            <pc:sldMk cId="3979226011" sldId="308"/>
            <ac:picMk id="3" creationId="{36B241DE-A7A3-2915-85B7-D8CA62B51D54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1:29:45.366" v="1395" actId="1076"/>
          <ac:picMkLst>
            <pc:docMk/>
            <pc:sldMk cId="3979226011" sldId="308"/>
            <ac:picMk id="5" creationId="{9F319B15-F7C6-4A47-9199-60BCC6831A22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1:30:31.164" v="1406" actId="1076"/>
          <ac:picMkLst>
            <pc:docMk/>
            <pc:sldMk cId="3979226011" sldId="308"/>
            <ac:picMk id="6" creationId="{B003AB75-540C-419A-A73D-D842D8C487DD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3:31:40.051" v="1597" actId="14100"/>
          <ac:picMkLst>
            <pc:docMk/>
            <pc:sldMk cId="3979226011" sldId="308"/>
            <ac:picMk id="9" creationId="{4D8FF41C-D09E-454C-ADD3-C636F509A25D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3:31:43.176" v="1598" actId="14100"/>
          <ac:picMkLst>
            <pc:docMk/>
            <pc:sldMk cId="3979226011" sldId="308"/>
            <ac:picMk id="12" creationId="{66F4C863-84B1-C42A-380F-A3318D212C25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1:30:29.789" v="1405" actId="1076"/>
          <ac:picMkLst>
            <pc:docMk/>
            <pc:sldMk cId="3979226011" sldId="308"/>
            <ac:picMk id="13" creationId="{C98459B9-D101-4824-BC52-A966CF3EC9B6}"/>
          </ac:picMkLst>
        </pc:picChg>
      </pc:sldChg>
      <pc:sldChg chg="modSp delCm">
        <pc:chgData name="Guest User" userId="S::urn:spo:anon#5c1cd7b39cb30a75ca1cea0fb2ba435992d6c6a6b484349a9ca7505025227c67::" providerId="AD" clId="Web-{C50870E9-6EF1-03AB-CB1D-15364C36965A}" dt="2022-05-24T11:50:22.422" v="1583" actId="20577"/>
        <pc:sldMkLst>
          <pc:docMk/>
          <pc:sldMk cId="3209739012" sldId="310"/>
        </pc:sldMkLst>
        <pc:spChg chg="mod">
          <ac:chgData name="Guest User" userId="S::urn:spo:anon#5c1cd7b39cb30a75ca1cea0fb2ba435992d6c6a6b484349a9ca7505025227c67::" providerId="AD" clId="Web-{C50870E9-6EF1-03AB-CB1D-15364C36965A}" dt="2022-05-24T11:50:22.422" v="1583" actId="20577"/>
          <ac:spMkLst>
            <pc:docMk/>
            <pc:sldMk cId="3209739012" sldId="310"/>
            <ac:spMk id="8" creationId="{EC2AA5D8-F8D8-4242-8DAC-9758B8843027}"/>
          </ac:spMkLst>
        </pc:spChg>
      </pc:sldChg>
      <pc:sldChg chg="modSp ord">
        <pc:chgData name="Guest User" userId="S::urn:spo:anon#5c1cd7b39cb30a75ca1cea0fb2ba435992d6c6a6b484349a9ca7505025227c67::" providerId="AD" clId="Web-{C50870E9-6EF1-03AB-CB1D-15364C36965A}" dt="2022-05-24T11:52:15.393" v="1585" actId="20577"/>
        <pc:sldMkLst>
          <pc:docMk/>
          <pc:sldMk cId="1959855485" sldId="311"/>
        </pc:sldMkLst>
        <pc:spChg chg="mod">
          <ac:chgData name="Guest User" userId="S::urn:spo:anon#5c1cd7b39cb30a75ca1cea0fb2ba435992d6c6a6b484349a9ca7505025227c67::" providerId="AD" clId="Web-{C50870E9-6EF1-03AB-CB1D-15364C36965A}" dt="2022-05-24T11:52:15.393" v="1585" actId="20577"/>
          <ac:spMkLst>
            <pc:docMk/>
            <pc:sldMk cId="1959855485" sldId="311"/>
            <ac:spMk id="2" creationId="{ECB39143-43DB-404B-999A-68A64BABF4DE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8:56:41.573" v="145" actId="20577"/>
          <ac:spMkLst>
            <pc:docMk/>
            <pc:sldMk cId="1959855485" sldId="311"/>
            <ac:spMk id="4" creationId="{C5AED35D-F009-4C6C-BE74-11E7A80DDC36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09:53:43.501" v="717" actId="20577"/>
        <pc:sldMkLst>
          <pc:docMk/>
          <pc:sldMk cId="2124743312" sldId="312"/>
        </pc:sldMkLst>
        <pc:spChg chg="mod">
          <ac:chgData name="Guest User" userId="S::urn:spo:anon#5c1cd7b39cb30a75ca1cea0fb2ba435992d6c6a6b484349a9ca7505025227c67::" providerId="AD" clId="Web-{C50870E9-6EF1-03AB-CB1D-15364C36965A}" dt="2022-05-24T09:53:43.501" v="717" actId="20577"/>
          <ac:spMkLst>
            <pc:docMk/>
            <pc:sldMk cId="2124743312" sldId="312"/>
            <ac:spMk id="3" creationId="{00000000-0000-0000-0000-000000000000}"/>
          </ac:spMkLst>
        </pc:spChg>
      </pc:sldChg>
      <pc:sldChg chg="modSp new del">
        <pc:chgData name="Guest User" userId="S::urn:spo:anon#5c1cd7b39cb30a75ca1cea0fb2ba435992d6c6a6b484349a9ca7505025227c67::" providerId="AD" clId="Web-{C50870E9-6EF1-03AB-CB1D-15364C36965A}" dt="2022-05-24T10:24:44.132" v="1126"/>
        <pc:sldMkLst>
          <pc:docMk/>
          <pc:sldMk cId="3348619241" sldId="313"/>
        </pc:sldMkLst>
        <pc:spChg chg="mod">
          <ac:chgData name="Guest User" userId="S::urn:spo:anon#5c1cd7b39cb30a75ca1cea0fb2ba435992d6c6a6b484349a9ca7505025227c67::" providerId="AD" clId="Web-{C50870E9-6EF1-03AB-CB1D-15364C36965A}" dt="2022-05-24T09:19:00.881" v="313" actId="20577"/>
          <ac:spMkLst>
            <pc:docMk/>
            <pc:sldMk cId="3348619241" sldId="313"/>
            <ac:spMk id="2" creationId="{E4108760-61B1-6D83-B896-D35F6178FD51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19:30.366" v="316" actId="1076"/>
          <ac:spMkLst>
            <pc:docMk/>
            <pc:sldMk cId="3348619241" sldId="313"/>
            <ac:spMk id="3" creationId="{34BFEDE4-5593-47D9-B158-541BB964D8C6}"/>
          </ac:spMkLst>
        </pc:spChg>
      </pc:sldChg>
      <pc:sldChg chg="modSp new del">
        <pc:chgData name="Guest User" userId="S::urn:spo:anon#5c1cd7b39cb30a75ca1cea0fb2ba435992d6c6a6b484349a9ca7505025227c67::" providerId="AD" clId="Web-{C50870E9-6EF1-03AB-CB1D-15364C36965A}" dt="2022-05-24T09:32:44.507" v="422"/>
        <pc:sldMkLst>
          <pc:docMk/>
          <pc:sldMk cId="77986337" sldId="314"/>
        </pc:sldMkLst>
        <pc:spChg chg="mod">
          <ac:chgData name="Guest User" userId="S::urn:spo:anon#5c1cd7b39cb30a75ca1cea0fb2ba435992d6c6a6b484349a9ca7505025227c67::" providerId="AD" clId="Web-{C50870E9-6EF1-03AB-CB1D-15364C36965A}" dt="2022-05-24T09:31:30.084" v="392" actId="20577"/>
          <ac:spMkLst>
            <pc:docMk/>
            <pc:sldMk cId="77986337" sldId="314"/>
            <ac:spMk id="2" creationId="{A63E54EA-3B7C-BFF5-3DBB-ECD08FA2D1BD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32:43.710" v="421" actId="20577"/>
          <ac:spMkLst>
            <pc:docMk/>
            <pc:sldMk cId="77986337" sldId="314"/>
            <ac:spMk id="3" creationId="{F412A8B4-D828-31DB-7776-36936F75A714}"/>
          </ac:spMkLst>
        </pc:spChg>
      </pc:sldChg>
      <pc:sldChg chg="addSp modSp new ord modNotes">
        <pc:chgData name="Guest User" userId="S::urn:spo:anon#5c1cd7b39cb30a75ca1cea0fb2ba435992d6c6a6b484349a9ca7505025227c67::" providerId="AD" clId="Web-{C50870E9-6EF1-03AB-CB1D-15364C36965A}" dt="2022-05-24T13:01:55.839" v="1595" actId="20577"/>
        <pc:sldMkLst>
          <pc:docMk/>
          <pc:sldMk cId="4248556420" sldId="314"/>
        </pc:sldMkLst>
        <pc:spChg chg="mod">
          <ac:chgData name="Guest User" userId="S::urn:spo:anon#5c1cd7b39cb30a75ca1cea0fb2ba435992d6c6a6b484349a9ca7505025227c67::" providerId="AD" clId="Web-{C50870E9-6EF1-03AB-CB1D-15364C36965A}" dt="2022-05-24T09:52:45.438" v="711" actId="20577"/>
          <ac:spMkLst>
            <pc:docMk/>
            <pc:sldMk cId="4248556420" sldId="314"/>
            <ac:spMk id="2" creationId="{7CBC127A-4017-88C6-42DC-76D9E11DCCA8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13:01:55.839" v="1595" actId="20577"/>
          <ac:spMkLst>
            <pc:docMk/>
            <pc:sldMk cId="4248556420" sldId="314"/>
            <ac:spMk id="3" creationId="{96959814-9071-EAE4-F7AC-76E25031DC00}"/>
          </ac:spMkLst>
        </pc:spChg>
        <pc:spChg chg="add mod">
          <ac:chgData name="Guest User" userId="S::urn:spo:anon#5c1cd7b39cb30a75ca1cea0fb2ba435992d6c6a6b484349a9ca7505025227c67::" providerId="AD" clId="Web-{C50870E9-6EF1-03AB-CB1D-15364C36965A}" dt="2022-05-24T10:19:48.720" v="1005"/>
          <ac:spMkLst>
            <pc:docMk/>
            <pc:sldMk cId="4248556420" sldId="314"/>
            <ac:spMk id="4" creationId="{70457893-B388-CA53-3E6E-105567370A9A}"/>
          </ac:spMkLst>
        </pc:spChg>
      </pc:sldChg>
      <pc:sldChg chg="modSp new">
        <pc:chgData name="Guest User" userId="S::urn:spo:anon#5c1cd7b39cb30a75ca1cea0fb2ba435992d6c6a6b484349a9ca7505025227c67::" providerId="AD" clId="Web-{C50870E9-6EF1-03AB-CB1D-15364C36965A}" dt="2022-05-24T10:56:59.421" v="1169" actId="14100"/>
        <pc:sldMkLst>
          <pc:docMk/>
          <pc:sldMk cId="1627569597" sldId="315"/>
        </pc:sldMkLst>
        <pc:spChg chg="mod">
          <ac:chgData name="Guest User" userId="S::urn:spo:anon#5c1cd7b39cb30a75ca1cea0fb2ba435992d6c6a6b484349a9ca7505025227c67::" providerId="AD" clId="Web-{C50870E9-6EF1-03AB-CB1D-15364C36965A}" dt="2022-05-24T10:02:20.465" v="794" actId="20577"/>
          <ac:spMkLst>
            <pc:docMk/>
            <pc:sldMk cId="1627569597" sldId="315"/>
            <ac:spMk id="2" creationId="{022ACFA0-76C8-1EA8-54EC-42708D9B9177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10:56:59.421" v="1169" actId="14100"/>
          <ac:spMkLst>
            <pc:docMk/>
            <pc:sldMk cId="1627569597" sldId="315"/>
            <ac:spMk id="3" creationId="{78101E67-B0F1-726C-7F13-95384EA7B94E}"/>
          </ac:spMkLst>
        </pc:spChg>
      </pc:sldChg>
      <pc:sldChg chg="addSp modSp new">
        <pc:chgData name="Guest User" userId="S::urn:spo:anon#5c1cd7b39cb30a75ca1cea0fb2ba435992d6c6a6b484349a9ca7505025227c67::" providerId="AD" clId="Web-{C50870E9-6EF1-03AB-CB1D-15364C36965A}" dt="2022-05-24T11:32:48.026" v="1461" actId="20577"/>
        <pc:sldMkLst>
          <pc:docMk/>
          <pc:sldMk cId="813545271" sldId="316"/>
        </pc:sldMkLst>
        <pc:spChg chg="mod">
          <ac:chgData name="Guest User" userId="S::urn:spo:anon#5c1cd7b39cb30a75ca1cea0fb2ba435992d6c6a6b484349a9ca7505025227c67::" providerId="AD" clId="Web-{C50870E9-6EF1-03AB-CB1D-15364C36965A}" dt="2022-05-24T11:08:36.106" v="1206" actId="20577"/>
          <ac:spMkLst>
            <pc:docMk/>
            <pc:sldMk cId="813545271" sldId="316"/>
            <ac:spMk id="2" creationId="{95830DEE-4768-83D0-54D4-7D19C584700B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11:26:20.159" v="1391" actId="20577"/>
          <ac:spMkLst>
            <pc:docMk/>
            <pc:sldMk cId="813545271" sldId="316"/>
            <ac:spMk id="3" creationId="{88C80544-D972-5414-9AD8-744769A39182}"/>
          </ac:spMkLst>
        </pc:spChg>
        <pc:spChg chg="add mod">
          <ac:chgData name="Guest User" userId="S::urn:spo:anon#5c1cd7b39cb30a75ca1cea0fb2ba435992d6c6a6b484349a9ca7505025227c67::" providerId="AD" clId="Web-{C50870E9-6EF1-03AB-CB1D-15364C36965A}" dt="2022-05-24T11:32:48.026" v="1461" actId="20577"/>
          <ac:spMkLst>
            <pc:docMk/>
            <pc:sldMk cId="813545271" sldId="316"/>
            <ac:spMk id="4" creationId="{B951880E-2548-03FC-30F1-559F3B67733E}"/>
          </ac:spMkLst>
        </pc:spChg>
      </pc:sldChg>
      <pc:sldChg chg="modSp new">
        <pc:chgData name="Guest User" userId="S::urn:spo:anon#5c1cd7b39cb30a75ca1cea0fb2ba435992d6c6a6b484349a9ca7505025227c67::" providerId="AD" clId="Web-{C50870E9-6EF1-03AB-CB1D-15364C36965A}" dt="2022-05-24T11:47:07.699" v="1551" actId="20577"/>
        <pc:sldMkLst>
          <pc:docMk/>
          <pc:sldMk cId="1986818962" sldId="317"/>
        </pc:sldMkLst>
        <pc:spChg chg="mod">
          <ac:chgData name="Guest User" userId="S::urn:spo:anon#5c1cd7b39cb30a75ca1cea0fb2ba435992d6c6a6b484349a9ca7505025227c67::" providerId="AD" clId="Web-{C50870E9-6EF1-03AB-CB1D-15364C36965A}" dt="2022-05-24T11:34:39.622" v="1482" actId="20577"/>
          <ac:spMkLst>
            <pc:docMk/>
            <pc:sldMk cId="1986818962" sldId="317"/>
            <ac:spMk id="2" creationId="{0087FBAB-EC07-CF2D-1C34-B286203D1DEB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11:47:07.699" v="1551" actId="20577"/>
          <ac:spMkLst>
            <pc:docMk/>
            <pc:sldMk cId="1986818962" sldId="317"/>
            <ac:spMk id="3" creationId="{F542AE94-456A-179B-63E4-5401D70ED4F9}"/>
          </ac:spMkLst>
        </pc:spChg>
      </pc:sldChg>
    </pc:docChg>
  </pc:docChgLst>
  <pc:docChgLst>
    <pc:chgData name="Ewen Trafford" userId="e520b4bf-a196-48b7-bc10-b1590a457daa" providerId="ADAL" clId="{5BA6364E-98DB-4192-BC54-F1DD9C9FB6F0}"/>
    <pc:docChg chg="custSel modSld">
      <pc:chgData name="Ewen Trafford" userId="e520b4bf-a196-48b7-bc10-b1590a457daa" providerId="ADAL" clId="{5BA6364E-98DB-4192-BC54-F1DD9C9FB6F0}" dt="2022-09-23T09:30:01.750" v="43" actId="1076"/>
      <pc:docMkLst>
        <pc:docMk/>
      </pc:docMkLst>
      <pc:sldChg chg="addSp delSp modSp mod">
        <pc:chgData name="Ewen Trafford" userId="e520b4bf-a196-48b7-bc10-b1590a457daa" providerId="ADAL" clId="{5BA6364E-98DB-4192-BC54-F1DD9C9FB6F0}" dt="2022-09-23T09:30:01.750" v="43" actId="1076"/>
        <pc:sldMkLst>
          <pc:docMk/>
          <pc:sldMk cId="3720318337" sldId="264"/>
        </pc:sldMkLst>
        <pc:spChg chg="mod">
          <ac:chgData name="Ewen Trafford" userId="e520b4bf-a196-48b7-bc10-b1590a457daa" providerId="ADAL" clId="{5BA6364E-98DB-4192-BC54-F1DD9C9FB6F0}" dt="2022-09-23T09:30:00.915" v="42" actId="14100"/>
          <ac:spMkLst>
            <pc:docMk/>
            <pc:sldMk cId="3720318337" sldId="264"/>
            <ac:spMk id="3" creationId="{00000000-0000-0000-0000-000000000000}"/>
          </ac:spMkLst>
        </pc:spChg>
        <pc:picChg chg="add mod">
          <ac:chgData name="Ewen Trafford" userId="e520b4bf-a196-48b7-bc10-b1590a457daa" providerId="ADAL" clId="{5BA6364E-98DB-4192-BC54-F1DD9C9FB6F0}" dt="2022-09-23T09:30:01.750" v="43" actId="1076"/>
          <ac:picMkLst>
            <pc:docMk/>
            <pc:sldMk cId="3720318337" sldId="264"/>
            <ac:picMk id="4" creationId="{CFFCF9E7-5831-2DA8-E5E5-53D6703E165E}"/>
          </ac:picMkLst>
        </pc:picChg>
        <pc:picChg chg="del">
          <ac:chgData name="Ewen Trafford" userId="e520b4bf-a196-48b7-bc10-b1590a457daa" providerId="ADAL" clId="{5BA6364E-98DB-4192-BC54-F1DD9C9FB6F0}" dt="2022-09-23T09:29:44.440" v="40" actId="478"/>
          <ac:picMkLst>
            <pc:docMk/>
            <pc:sldMk cId="3720318337" sldId="264"/>
            <ac:picMk id="2050" creationId="{00000000-0000-0000-0000-000000000000}"/>
          </ac:picMkLst>
        </pc:picChg>
      </pc:sldChg>
      <pc:sldChg chg="addSp delSp modSp mod">
        <pc:chgData name="Ewen Trafford" userId="e520b4bf-a196-48b7-bc10-b1590a457daa" providerId="ADAL" clId="{5BA6364E-98DB-4192-BC54-F1DD9C9FB6F0}" dt="2022-09-23T09:22:42.695" v="2" actId="1076"/>
        <pc:sldMkLst>
          <pc:docMk/>
          <pc:sldMk cId="3502136553" sldId="284"/>
        </pc:sldMkLst>
        <pc:picChg chg="add mod">
          <ac:chgData name="Ewen Trafford" userId="e520b4bf-a196-48b7-bc10-b1590a457daa" providerId="ADAL" clId="{5BA6364E-98DB-4192-BC54-F1DD9C9FB6F0}" dt="2022-09-23T09:22:42.695" v="2" actId="1076"/>
          <ac:picMkLst>
            <pc:docMk/>
            <pc:sldMk cId="3502136553" sldId="284"/>
            <ac:picMk id="4" creationId="{FC74D803-532F-966E-C54A-4A469D04F716}"/>
          </ac:picMkLst>
        </pc:picChg>
        <pc:picChg chg="del">
          <ac:chgData name="Ewen Trafford" userId="e520b4bf-a196-48b7-bc10-b1590a457daa" providerId="ADAL" clId="{5BA6364E-98DB-4192-BC54-F1DD9C9FB6F0}" dt="2022-09-23T09:22:38.372" v="0" actId="478"/>
          <ac:picMkLst>
            <pc:docMk/>
            <pc:sldMk cId="3502136553" sldId="284"/>
            <ac:picMk id="5" creationId="{00000000-0000-0000-0000-000000000000}"/>
          </ac:picMkLst>
        </pc:picChg>
      </pc:sldChg>
      <pc:sldChg chg="addSp delSp modSp mod">
        <pc:chgData name="Ewen Trafford" userId="e520b4bf-a196-48b7-bc10-b1590a457daa" providerId="ADAL" clId="{5BA6364E-98DB-4192-BC54-F1DD9C9FB6F0}" dt="2022-09-23T09:23:11.234" v="9" actId="1076"/>
        <pc:sldMkLst>
          <pc:docMk/>
          <pc:sldMk cId="1453683544" sldId="348"/>
        </pc:sldMkLst>
        <pc:spChg chg="mod">
          <ac:chgData name="Ewen Trafford" userId="e520b4bf-a196-48b7-bc10-b1590a457daa" providerId="ADAL" clId="{5BA6364E-98DB-4192-BC54-F1DD9C9FB6F0}" dt="2022-09-23T09:22:55.897" v="4" actId="14100"/>
          <ac:spMkLst>
            <pc:docMk/>
            <pc:sldMk cId="1453683544" sldId="348"/>
            <ac:spMk id="3" creationId="{00000000-0000-0000-0000-000000000000}"/>
          </ac:spMkLst>
        </pc:spChg>
        <pc:picChg chg="del">
          <ac:chgData name="Ewen Trafford" userId="e520b4bf-a196-48b7-bc10-b1590a457daa" providerId="ADAL" clId="{5BA6364E-98DB-4192-BC54-F1DD9C9FB6F0}" dt="2022-09-23T09:22:50.011" v="3" actId="478"/>
          <ac:picMkLst>
            <pc:docMk/>
            <pc:sldMk cId="1453683544" sldId="348"/>
            <ac:picMk id="4" creationId="{00000000-0000-0000-0000-000000000000}"/>
          </ac:picMkLst>
        </pc:picChg>
        <pc:picChg chg="add mod ord">
          <ac:chgData name="Ewen Trafford" userId="e520b4bf-a196-48b7-bc10-b1590a457daa" providerId="ADAL" clId="{5BA6364E-98DB-4192-BC54-F1DD9C9FB6F0}" dt="2022-09-23T09:23:11.234" v="9" actId="1076"/>
          <ac:picMkLst>
            <pc:docMk/>
            <pc:sldMk cId="1453683544" sldId="348"/>
            <ac:picMk id="5" creationId="{1BAD4007-F0F7-A6F5-76FE-734F9B50037B}"/>
          </ac:picMkLst>
        </pc:picChg>
      </pc:sldChg>
      <pc:sldChg chg="addSp modSp mod">
        <pc:chgData name="Ewen Trafford" userId="e520b4bf-a196-48b7-bc10-b1590a457daa" providerId="ADAL" clId="{5BA6364E-98DB-4192-BC54-F1DD9C9FB6F0}" dt="2022-09-23T09:24:04.649" v="16" actId="1076"/>
        <pc:sldMkLst>
          <pc:docMk/>
          <pc:sldMk cId="2689091383" sldId="350"/>
        </pc:sldMkLst>
        <pc:spChg chg="mod">
          <ac:chgData name="Ewen Trafford" userId="e520b4bf-a196-48b7-bc10-b1590a457daa" providerId="ADAL" clId="{5BA6364E-98DB-4192-BC54-F1DD9C9FB6F0}" dt="2022-09-23T09:24:03.179" v="15" actId="14100"/>
          <ac:spMkLst>
            <pc:docMk/>
            <pc:sldMk cId="2689091383" sldId="350"/>
            <ac:spMk id="3" creationId="{00000000-0000-0000-0000-000000000000}"/>
          </ac:spMkLst>
        </pc:spChg>
        <pc:picChg chg="add mod">
          <ac:chgData name="Ewen Trafford" userId="e520b4bf-a196-48b7-bc10-b1590a457daa" providerId="ADAL" clId="{5BA6364E-98DB-4192-BC54-F1DD9C9FB6F0}" dt="2022-09-23T09:24:04.649" v="16" actId="1076"/>
          <ac:picMkLst>
            <pc:docMk/>
            <pc:sldMk cId="2689091383" sldId="350"/>
            <ac:picMk id="5" creationId="{8591D87E-1CC9-0A53-C92D-357CCE3E27E2}"/>
          </ac:picMkLst>
        </pc:picChg>
      </pc:sldChg>
      <pc:sldChg chg="addSp modSp mod">
        <pc:chgData name="Ewen Trafford" userId="e520b4bf-a196-48b7-bc10-b1590a457daa" providerId="ADAL" clId="{5BA6364E-98DB-4192-BC54-F1DD9C9FB6F0}" dt="2022-09-23T09:24:55.329" v="29" actId="1076"/>
        <pc:sldMkLst>
          <pc:docMk/>
          <pc:sldMk cId="2429178958" sldId="351"/>
        </pc:sldMkLst>
        <pc:spChg chg="mod">
          <ac:chgData name="Ewen Trafford" userId="e520b4bf-a196-48b7-bc10-b1590a457daa" providerId="ADAL" clId="{5BA6364E-98DB-4192-BC54-F1DD9C9FB6F0}" dt="2022-09-23T09:24:48.087" v="25" actId="14100"/>
          <ac:spMkLst>
            <pc:docMk/>
            <pc:sldMk cId="2429178958" sldId="351"/>
            <ac:spMk id="3" creationId="{00000000-0000-0000-0000-000000000000}"/>
          </ac:spMkLst>
        </pc:spChg>
        <pc:picChg chg="add mod modCrop">
          <ac:chgData name="Ewen Trafford" userId="e520b4bf-a196-48b7-bc10-b1590a457daa" providerId="ADAL" clId="{5BA6364E-98DB-4192-BC54-F1DD9C9FB6F0}" dt="2022-09-23T09:24:55.329" v="29" actId="1076"/>
          <ac:picMkLst>
            <pc:docMk/>
            <pc:sldMk cId="2429178958" sldId="351"/>
            <ac:picMk id="5" creationId="{4C2F055F-952E-F722-4D69-7E87624D8306}"/>
          </ac:picMkLst>
        </pc:picChg>
      </pc:sldChg>
      <pc:sldChg chg="addSp modSp mod">
        <pc:chgData name="Ewen Trafford" userId="e520b4bf-a196-48b7-bc10-b1590a457daa" providerId="ADAL" clId="{5BA6364E-98DB-4192-BC54-F1DD9C9FB6F0}" dt="2022-09-23T09:26:09.411" v="39" actId="1076"/>
        <pc:sldMkLst>
          <pc:docMk/>
          <pc:sldMk cId="1656236610" sldId="352"/>
        </pc:sldMkLst>
        <pc:spChg chg="mod">
          <ac:chgData name="Ewen Trafford" userId="e520b4bf-a196-48b7-bc10-b1590a457daa" providerId="ADAL" clId="{5BA6364E-98DB-4192-BC54-F1DD9C9FB6F0}" dt="2022-09-23T09:26:00.117" v="37" actId="14100"/>
          <ac:spMkLst>
            <pc:docMk/>
            <pc:sldMk cId="1656236610" sldId="352"/>
            <ac:spMk id="3" creationId="{00000000-0000-0000-0000-000000000000}"/>
          </ac:spMkLst>
        </pc:spChg>
        <pc:picChg chg="add mod modCrop">
          <ac:chgData name="Ewen Trafford" userId="e520b4bf-a196-48b7-bc10-b1590a457daa" providerId="ADAL" clId="{5BA6364E-98DB-4192-BC54-F1DD9C9FB6F0}" dt="2022-09-23T09:26:09.411" v="39" actId="1076"/>
          <ac:picMkLst>
            <pc:docMk/>
            <pc:sldMk cId="1656236610" sldId="352"/>
            <ac:picMk id="5" creationId="{1B18F22D-18E1-F1C4-642C-CBBE65B555A0}"/>
          </ac:picMkLst>
        </pc:picChg>
      </pc:sldChg>
    </pc:docChg>
  </pc:docChgLst>
  <pc:docChgLst>
    <pc:chgData name="Ewen Trafford" userId="e520b4bf-a196-48b7-bc10-b1590a457daa" providerId="ADAL" clId="{050F2901-02EA-4CCD-80E9-59020FB821DE}"/>
    <pc:docChg chg="undo custSel addSld modSld">
      <pc:chgData name="Ewen Trafford" userId="e520b4bf-a196-48b7-bc10-b1590a457daa" providerId="ADAL" clId="{050F2901-02EA-4CCD-80E9-59020FB821DE}" dt="2022-06-01T15:16:59.847" v="1789" actId="20577"/>
      <pc:docMkLst>
        <pc:docMk/>
      </pc:docMkLst>
      <pc:sldChg chg="modSp mod delCm modCm">
        <pc:chgData name="Ewen Trafford" userId="e520b4bf-a196-48b7-bc10-b1590a457daa" providerId="ADAL" clId="{050F2901-02EA-4CCD-80E9-59020FB821DE}" dt="2022-05-31T12:44:02.862" v="175"/>
        <pc:sldMkLst>
          <pc:docMk/>
          <pc:sldMk cId="3993973292" sldId="274"/>
        </pc:sldMkLst>
        <pc:spChg chg="mod">
          <ac:chgData name="Ewen Trafford" userId="e520b4bf-a196-48b7-bc10-b1590a457daa" providerId="ADAL" clId="{050F2901-02EA-4CCD-80E9-59020FB821DE}" dt="2022-05-31T12:43:59.654" v="174" actId="20577"/>
          <ac:spMkLst>
            <pc:docMk/>
            <pc:sldMk cId="3993973292" sldId="274"/>
            <ac:spMk id="3" creationId="{00000000-0000-0000-0000-000000000000}"/>
          </ac:spMkLst>
        </pc:spChg>
      </pc:sldChg>
      <pc:sldChg chg="addSp modSp mod">
        <pc:chgData name="Ewen Trafford" userId="e520b4bf-a196-48b7-bc10-b1590a457daa" providerId="ADAL" clId="{050F2901-02EA-4CCD-80E9-59020FB821DE}" dt="2022-06-01T13:16:59.655" v="671" actId="13926"/>
        <pc:sldMkLst>
          <pc:docMk/>
          <pc:sldMk cId="3137792006" sldId="277"/>
        </pc:sldMkLst>
        <pc:spChg chg="mod">
          <ac:chgData name="Ewen Trafford" userId="e520b4bf-a196-48b7-bc10-b1590a457daa" providerId="ADAL" clId="{050F2901-02EA-4CCD-80E9-59020FB821DE}" dt="2022-06-01T13:16:45.434" v="668" actId="20577"/>
          <ac:spMkLst>
            <pc:docMk/>
            <pc:sldMk cId="3137792006" sldId="277"/>
            <ac:spMk id="3" creationId="{00000000-0000-0000-0000-000000000000}"/>
          </ac:spMkLst>
        </pc:spChg>
        <pc:spChg chg="add mod">
          <ac:chgData name="Ewen Trafford" userId="e520b4bf-a196-48b7-bc10-b1590a457daa" providerId="ADAL" clId="{050F2901-02EA-4CCD-80E9-59020FB821DE}" dt="2022-06-01T13:16:59.655" v="671" actId="13926"/>
          <ac:spMkLst>
            <pc:docMk/>
            <pc:sldMk cId="3137792006" sldId="277"/>
            <ac:spMk id="7" creationId="{1B259F73-E87B-42C3-9AC3-9D81F3D3C48B}"/>
          </ac:spMkLst>
        </pc:spChg>
      </pc:sldChg>
      <pc:sldChg chg="addSp delSp modSp mod delCm">
        <pc:chgData name="Ewen Trafford" userId="e520b4bf-a196-48b7-bc10-b1590a457daa" providerId="ADAL" clId="{050F2901-02EA-4CCD-80E9-59020FB821DE}" dt="2022-05-31T12:41:16.765" v="15" actId="27614"/>
        <pc:sldMkLst>
          <pc:docMk/>
          <pc:sldMk cId="1351839580" sldId="294"/>
        </pc:sldMkLst>
        <pc:spChg chg="del">
          <ac:chgData name="Ewen Trafford" userId="e520b4bf-a196-48b7-bc10-b1590a457daa" providerId="ADAL" clId="{050F2901-02EA-4CCD-80E9-59020FB821DE}" dt="2022-05-31T12:41:03.064" v="11" actId="478"/>
          <ac:spMkLst>
            <pc:docMk/>
            <pc:sldMk cId="1351839580" sldId="294"/>
            <ac:spMk id="3" creationId="{CDDA6D2C-3FB8-7389-0564-F3A1F0EE7142}"/>
          </ac:spMkLst>
        </pc:spChg>
        <pc:picChg chg="add mod">
          <ac:chgData name="Ewen Trafford" userId="e520b4bf-a196-48b7-bc10-b1590a457daa" providerId="ADAL" clId="{050F2901-02EA-4CCD-80E9-59020FB821DE}" dt="2022-05-31T12:41:16.765" v="15" actId="27614"/>
          <ac:picMkLst>
            <pc:docMk/>
            <pc:sldMk cId="1351839580" sldId="294"/>
            <ac:picMk id="5" creationId="{09B8F994-D624-43CB-958F-E7CBDB4F4311}"/>
          </ac:picMkLst>
        </pc:picChg>
      </pc:sldChg>
      <pc:sldChg chg="modSp mod">
        <pc:chgData name="Ewen Trafford" userId="e520b4bf-a196-48b7-bc10-b1590a457daa" providerId="ADAL" clId="{050F2901-02EA-4CCD-80E9-59020FB821DE}" dt="2022-06-01T13:11:16.464" v="660" actId="1076"/>
        <pc:sldMkLst>
          <pc:docMk/>
          <pc:sldMk cId="1245899220" sldId="305"/>
        </pc:sldMkLst>
        <pc:picChg chg="mod">
          <ac:chgData name="Ewen Trafford" userId="e520b4bf-a196-48b7-bc10-b1590a457daa" providerId="ADAL" clId="{050F2901-02EA-4CCD-80E9-59020FB821DE}" dt="2022-06-01T13:11:16.464" v="660" actId="1076"/>
          <ac:picMkLst>
            <pc:docMk/>
            <pc:sldMk cId="1245899220" sldId="305"/>
            <ac:picMk id="9" creationId="{6B2C2443-1A77-46BF-B2F8-964EF726DF1E}"/>
          </ac:picMkLst>
        </pc:picChg>
      </pc:sldChg>
      <pc:sldChg chg="modSp mod">
        <pc:chgData name="Ewen Trafford" userId="e520b4bf-a196-48b7-bc10-b1590a457daa" providerId="ADAL" clId="{050F2901-02EA-4CCD-80E9-59020FB821DE}" dt="2022-05-31T12:42:20.566" v="167" actId="20577"/>
        <pc:sldMkLst>
          <pc:docMk/>
          <pc:sldMk cId="639185947" sldId="307"/>
        </pc:sldMkLst>
        <pc:spChg chg="mod">
          <ac:chgData name="Ewen Trafford" userId="e520b4bf-a196-48b7-bc10-b1590a457daa" providerId="ADAL" clId="{050F2901-02EA-4CCD-80E9-59020FB821DE}" dt="2022-05-31T12:42:20.566" v="167" actId="20577"/>
          <ac:spMkLst>
            <pc:docMk/>
            <pc:sldMk cId="639185947" sldId="307"/>
            <ac:spMk id="4" creationId="{DDDB30AC-431A-410C-94CB-E2E50716CA4B}"/>
          </ac:spMkLst>
        </pc:spChg>
      </pc:sldChg>
      <pc:sldChg chg="addSp delSp modSp mod delCm">
        <pc:chgData name="Ewen Trafford" userId="e520b4bf-a196-48b7-bc10-b1590a457daa" providerId="ADAL" clId="{050F2901-02EA-4CCD-80E9-59020FB821DE}" dt="2022-06-01T15:16:59.847" v="1789" actId="20577"/>
        <pc:sldMkLst>
          <pc:docMk/>
          <pc:sldMk cId="3979226011" sldId="308"/>
        </pc:sldMkLst>
        <pc:spChg chg="add mod">
          <ac:chgData name="Ewen Trafford" userId="e520b4bf-a196-48b7-bc10-b1590a457daa" providerId="ADAL" clId="{050F2901-02EA-4CCD-80E9-59020FB821DE}" dt="2022-06-01T15:15:21.589" v="1693" actId="1076"/>
          <ac:spMkLst>
            <pc:docMk/>
            <pc:sldMk cId="3979226011" sldId="308"/>
            <ac:spMk id="3" creationId="{FD97BFF1-3DDE-4420-9C57-A6A8B8D54BFD}"/>
          </ac:spMkLst>
        </pc:spChg>
        <pc:spChg chg="add mod">
          <ac:chgData name="Ewen Trafford" userId="e520b4bf-a196-48b7-bc10-b1590a457daa" providerId="ADAL" clId="{050F2901-02EA-4CCD-80E9-59020FB821DE}" dt="2022-06-01T15:15:39.980" v="1722" actId="14100"/>
          <ac:spMkLst>
            <pc:docMk/>
            <pc:sldMk cId="3979226011" sldId="308"/>
            <ac:spMk id="14" creationId="{22F26E73-EC43-4EFA-B9A0-C0898DD0364F}"/>
          </ac:spMkLst>
        </pc:spChg>
        <pc:spChg chg="add mod">
          <ac:chgData name="Ewen Trafford" userId="e520b4bf-a196-48b7-bc10-b1590a457daa" providerId="ADAL" clId="{050F2901-02EA-4CCD-80E9-59020FB821DE}" dt="2022-06-01T15:16:10.440" v="1750" actId="1076"/>
          <ac:spMkLst>
            <pc:docMk/>
            <pc:sldMk cId="3979226011" sldId="308"/>
            <ac:spMk id="15" creationId="{35AD8946-B44D-4839-A63C-03F79AF49D71}"/>
          </ac:spMkLst>
        </pc:spChg>
        <pc:spChg chg="add mod">
          <ac:chgData name="Ewen Trafford" userId="e520b4bf-a196-48b7-bc10-b1590a457daa" providerId="ADAL" clId="{050F2901-02EA-4CCD-80E9-59020FB821DE}" dt="2022-06-01T15:16:42.960" v="1769" actId="1076"/>
          <ac:spMkLst>
            <pc:docMk/>
            <pc:sldMk cId="3979226011" sldId="308"/>
            <ac:spMk id="16" creationId="{2F92A811-6F88-4679-89D8-62EDDBB9C872}"/>
          </ac:spMkLst>
        </pc:spChg>
        <pc:spChg chg="add mod">
          <ac:chgData name="Ewen Trafford" userId="e520b4bf-a196-48b7-bc10-b1590a457daa" providerId="ADAL" clId="{050F2901-02EA-4CCD-80E9-59020FB821DE}" dt="2022-06-01T15:16:50.769" v="1781" actId="20577"/>
          <ac:spMkLst>
            <pc:docMk/>
            <pc:sldMk cId="3979226011" sldId="308"/>
            <ac:spMk id="18" creationId="{549336F6-2856-4921-9204-6C301AA57BD4}"/>
          </ac:spMkLst>
        </pc:spChg>
        <pc:spChg chg="add mod">
          <ac:chgData name="Ewen Trafford" userId="e520b4bf-a196-48b7-bc10-b1590a457daa" providerId="ADAL" clId="{050F2901-02EA-4CCD-80E9-59020FB821DE}" dt="2022-06-01T15:16:59.847" v="1789" actId="20577"/>
          <ac:spMkLst>
            <pc:docMk/>
            <pc:sldMk cId="3979226011" sldId="308"/>
            <ac:spMk id="19" creationId="{5E908355-4CED-4FAD-9980-4052418EE962}"/>
          </ac:spMkLst>
        </pc:spChg>
        <pc:picChg chg="mod">
          <ac:chgData name="Ewen Trafford" userId="e520b4bf-a196-48b7-bc10-b1590a457daa" providerId="ADAL" clId="{050F2901-02EA-4CCD-80E9-59020FB821DE}" dt="2022-06-01T15:16:19.281" v="1754" actId="1076"/>
          <ac:picMkLst>
            <pc:docMk/>
            <pc:sldMk cId="3979226011" sldId="308"/>
            <ac:picMk id="5" creationId="{9F319B15-F7C6-4A47-9199-60BCC6831A22}"/>
          </ac:picMkLst>
        </pc:picChg>
        <pc:picChg chg="add del">
          <ac:chgData name="Ewen Trafford" userId="e520b4bf-a196-48b7-bc10-b1590a457daa" providerId="ADAL" clId="{050F2901-02EA-4CCD-80E9-59020FB821DE}" dt="2022-06-01T15:13:45.545" v="1649" actId="478"/>
          <ac:picMkLst>
            <pc:docMk/>
            <pc:sldMk cId="3979226011" sldId="308"/>
            <ac:picMk id="6" creationId="{B003AB75-540C-419A-A73D-D842D8C487DD}"/>
          </ac:picMkLst>
        </pc:picChg>
        <pc:picChg chg="add mod ord">
          <ac:chgData name="Ewen Trafford" userId="e520b4bf-a196-48b7-bc10-b1590a457daa" providerId="ADAL" clId="{050F2901-02EA-4CCD-80E9-59020FB821DE}" dt="2022-06-01T15:16:39.009" v="1768" actId="1076"/>
          <ac:picMkLst>
            <pc:docMk/>
            <pc:sldMk cId="3979226011" sldId="308"/>
            <ac:picMk id="8" creationId="{17048F22-2837-4579-85F3-124B471098F8}"/>
          </ac:picMkLst>
        </pc:picChg>
        <pc:picChg chg="mod">
          <ac:chgData name="Ewen Trafford" userId="e520b4bf-a196-48b7-bc10-b1590a457daa" providerId="ADAL" clId="{050F2901-02EA-4CCD-80E9-59020FB821DE}" dt="2022-06-01T15:15:44.129" v="1723" actId="1076"/>
          <ac:picMkLst>
            <pc:docMk/>
            <pc:sldMk cId="3979226011" sldId="308"/>
            <ac:picMk id="9" creationId="{4D8FF41C-D09E-454C-ADD3-C636F509A25D}"/>
          </ac:picMkLst>
        </pc:picChg>
        <pc:picChg chg="mod">
          <ac:chgData name="Ewen Trafford" userId="e520b4bf-a196-48b7-bc10-b1590a457daa" providerId="ADAL" clId="{050F2901-02EA-4CCD-80E9-59020FB821DE}" dt="2022-06-01T15:15:48.629" v="1725" actId="1076"/>
          <ac:picMkLst>
            <pc:docMk/>
            <pc:sldMk cId="3979226011" sldId="308"/>
            <ac:picMk id="10" creationId="{8E0243E2-491B-B364-6B2B-E7DE675C15CB}"/>
          </ac:picMkLst>
        </pc:picChg>
        <pc:picChg chg="mod">
          <ac:chgData name="Ewen Trafford" userId="e520b4bf-a196-48b7-bc10-b1590a457daa" providerId="ADAL" clId="{050F2901-02EA-4CCD-80E9-59020FB821DE}" dt="2022-06-01T15:14:27.969" v="1664" actId="1076"/>
          <ac:picMkLst>
            <pc:docMk/>
            <pc:sldMk cId="3979226011" sldId="308"/>
            <ac:picMk id="11" creationId="{AE9A2AA5-8E19-40AB-ABB4-6C69C4410945}"/>
          </ac:picMkLst>
        </pc:picChg>
        <pc:picChg chg="del">
          <ac:chgData name="Ewen Trafford" userId="e520b4bf-a196-48b7-bc10-b1590a457daa" providerId="ADAL" clId="{050F2901-02EA-4CCD-80E9-59020FB821DE}" dt="2022-05-31T12:38:03.381" v="0" actId="478"/>
          <ac:picMkLst>
            <pc:docMk/>
            <pc:sldMk cId="3979226011" sldId="308"/>
            <ac:picMk id="12" creationId="{66F4C863-84B1-C42A-380F-A3318D212C25}"/>
          </ac:picMkLst>
        </pc:picChg>
        <pc:picChg chg="mod ord">
          <ac:chgData name="Ewen Trafford" userId="e520b4bf-a196-48b7-bc10-b1590a457daa" providerId="ADAL" clId="{050F2901-02EA-4CCD-80E9-59020FB821DE}" dt="2022-06-01T15:16:16.470" v="1753" actId="1076"/>
          <ac:picMkLst>
            <pc:docMk/>
            <pc:sldMk cId="3979226011" sldId="308"/>
            <ac:picMk id="17" creationId="{33310B10-D808-729E-7E59-6863FE4D1EA7}"/>
          </ac:picMkLst>
        </pc:picChg>
      </pc:sldChg>
      <pc:sldChg chg="addSp delSp modSp mod delCm modCm">
        <pc:chgData name="Ewen Trafford" userId="e520b4bf-a196-48b7-bc10-b1590a457daa" providerId="ADAL" clId="{050F2901-02EA-4CCD-80E9-59020FB821DE}" dt="2022-05-31T12:43:45.419" v="173" actId="27614"/>
        <pc:sldMkLst>
          <pc:docMk/>
          <pc:sldMk cId="3837550476" sldId="309"/>
        </pc:sldMkLst>
        <pc:spChg chg="mod">
          <ac:chgData name="Ewen Trafford" userId="e520b4bf-a196-48b7-bc10-b1590a457daa" providerId="ADAL" clId="{050F2901-02EA-4CCD-80E9-59020FB821DE}" dt="2022-05-31T12:41:55.585" v="152" actId="20577"/>
          <ac:spMkLst>
            <pc:docMk/>
            <pc:sldMk cId="3837550476" sldId="309"/>
            <ac:spMk id="4" creationId="{C5AED35D-F009-4C6C-BE74-11E7A80DDC36}"/>
          </ac:spMkLst>
        </pc:spChg>
        <pc:picChg chg="del">
          <ac:chgData name="Ewen Trafford" userId="e520b4bf-a196-48b7-bc10-b1590a457daa" providerId="ADAL" clId="{050F2901-02EA-4CCD-80E9-59020FB821DE}" dt="2022-05-31T12:42:25.793" v="168" actId="478"/>
          <ac:picMkLst>
            <pc:docMk/>
            <pc:sldMk cId="3837550476" sldId="309"/>
            <ac:picMk id="5" creationId="{EECBBF6B-5CE0-4184-9994-17BC9E1F602B}"/>
          </ac:picMkLst>
        </pc:picChg>
        <pc:picChg chg="add mod">
          <ac:chgData name="Ewen Trafford" userId="e520b4bf-a196-48b7-bc10-b1590a457daa" providerId="ADAL" clId="{050F2901-02EA-4CCD-80E9-59020FB821DE}" dt="2022-05-31T12:43:45.419" v="173" actId="27614"/>
          <ac:picMkLst>
            <pc:docMk/>
            <pc:sldMk cId="3837550476" sldId="309"/>
            <ac:picMk id="6" creationId="{92133238-B981-4DD4-B039-A3F8A99403B6}"/>
          </ac:picMkLst>
        </pc:picChg>
      </pc:sldChg>
      <pc:sldChg chg="modSp mod">
        <pc:chgData name="Ewen Trafford" userId="e520b4bf-a196-48b7-bc10-b1590a457daa" providerId="ADAL" clId="{050F2901-02EA-4CCD-80E9-59020FB821DE}" dt="2022-06-01T14:47:52.554" v="748" actId="1076"/>
        <pc:sldMkLst>
          <pc:docMk/>
          <pc:sldMk cId="3209739012" sldId="310"/>
        </pc:sldMkLst>
        <pc:spChg chg="mod">
          <ac:chgData name="Ewen Trafford" userId="e520b4bf-a196-48b7-bc10-b1590a457daa" providerId="ADAL" clId="{050F2901-02EA-4CCD-80E9-59020FB821DE}" dt="2022-06-01T14:47:45.576" v="747" actId="122"/>
          <ac:spMkLst>
            <pc:docMk/>
            <pc:sldMk cId="3209739012" sldId="310"/>
            <ac:spMk id="3" creationId="{82E1E8C1-13C2-39F4-CCF1-E26E44E671DB}"/>
          </ac:spMkLst>
        </pc:spChg>
        <pc:picChg chg="mod">
          <ac:chgData name="Ewen Trafford" userId="e520b4bf-a196-48b7-bc10-b1590a457daa" providerId="ADAL" clId="{050F2901-02EA-4CCD-80E9-59020FB821DE}" dt="2022-06-01T14:47:52.554" v="748" actId="1076"/>
          <ac:picMkLst>
            <pc:docMk/>
            <pc:sldMk cId="3209739012" sldId="310"/>
            <ac:picMk id="5" creationId="{FA42C68B-E6E9-486C-8F93-455C9B1B04F2}"/>
          </ac:picMkLst>
        </pc:picChg>
      </pc:sldChg>
      <pc:sldChg chg="addSp delSp modSp mod">
        <pc:chgData name="Ewen Trafford" userId="e520b4bf-a196-48b7-bc10-b1590a457daa" providerId="ADAL" clId="{050F2901-02EA-4CCD-80E9-59020FB821DE}" dt="2022-05-31T13:16:26.245" v="587"/>
        <pc:sldMkLst>
          <pc:docMk/>
          <pc:sldMk cId="4248556420" sldId="314"/>
        </pc:sldMkLst>
        <pc:spChg chg="mod">
          <ac:chgData name="Ewen Trafford" userId="e520b4bf-a196-48b7-bc10-b1590a457daa" providerId="ADAL" clId="{050F2901-02EA-4CCD-80E9-59020FB821DE}" dt="2022-05-31T12:56:04.860" v="196" actId="14100"/>
          <ac:spMkLst>
            <pc:docMk/>
            <pc:sldMk cId="4248556420" sldId="314"/>
            <ac:spMk id="3" creationId="{96959814-9071-EAE4-F7AC-76E25031DC00}"/>
          </ac:spMkLst>
        </pc:spChg>
        <pc:spChg chg="del">
          <ac:chgData name="Ewen Trafford" userId="e520b4bf-a196-48b7-bc10-b1590a457daa" providerId="ADAL" clId="{050F2901-02EA-4CCD-80E9-59020FB821DE}" dt="2022-05-31T13:15:51.658" v="586" actId="478"/>
          <ac:spMkLst>
            <pc:docMk/>
            <pc:sldMk cId="4248556420" sldId="314"/>
            <ac:spMk id="4" creationId="{70457893-B388-CA53-3E6E-105567370A9A}"/>
          </ac:spMkLst>
        </pc:spChg>
        <pc:picChg chg="add mod">
          <ac:chgData name="Ewen Trafford" userId="e520b4bf-a196-48b7-bc10-b1590a457daa" providerId="ADAL" clId="{050F2901-02EA-4CCD-80E9-59020FB821DE}" dt="2022-05-31T13:16:26.245" v="587"/>
          <ac:picMkLst>
            <pc:docMk/>
            <pc:sldMk cId="4248556420" sldId="314"/>
            <ac:picMk id="5" creationId="{197A8734-4A54-4E2C-814B-7ABF82AB4D77}"/>
          </ac:picMkLst>
        </pc:picChg>
      </pc:sldChg>
      <pc:sldChg chg="addSp modSp mod">
        <pc:chgData name="Ewen Trafford" userId="e520b4bf-a196-48b7-bc10-b1590a457daa" providerId="ADAL" clId="{050F2901-02EA-4CCD-80E9-59020FB821DE}" dt="2022-06-01T13:14:35.443" v="664" actId="20577"/>
        <pc:sldMkLst>
          <pc:docMk/>
          <pc:sldMk cId="1627569597" sldId="315"/>
        </pc:sldMkLst>
        <pc:spChg chg="mod">
          <ac:chgData name="Ewen Trafford" userId="e520b4bf-a196-48b7-bc10-b1590a457daa" providerId="ADAL" clId="{050F2901-02EA-4CCD-80E9-59020FB821DE}" dt="2022-06-01T13:14:35.443" v="664" actId="20577"/>
          <ac:spMkLst>
            <pc:docMk/>
            <pc:sldMk cId="1627569597" sldId="315"/>
            <ac:spMk id="3" creationId="{78101E67-B0F1-726C-7F13-95384EA7B94E}"/>
          </ac:spMkLst>
        </pc:spChg>
        <pc:spChg chg="add mod">
          <ac:chgData name="Ewen Trafford" userId="e520b4bf-a196-48b7-bc10-b1590a457daa" providerId="ADAL" clId="{050F2901-02EA-4CCD-80E9-59020FB821DE}" dt="2022-06-01T13:14:04.056" v="663" actId="1076"/>
          <ac:spMkLst>
            <pc:docMk/>
            <pc:sldMk cId="1627569597" sldId="315"/>
            <ac:spMk id="4" creationId="{C848D59B-3A5E-45BB-B587-FFA3AE7EC638}"/>
          </ac:spMkLst>
        </pc:spChg>
      </pc:sldChg>
      <pc:sldChg chg="modSp mod">
        <pc:chgData name="Ewen Trafford" userId="e520b4bf-a196-48b7-bc10-b1590a457daa" providerId="ADAL" clId="{050F2901-02EA-4CCD-80E9-59020FB821DE}" dt="2022-05-31T12:47:03.893" v="176" actId="13926"/>
        <pc:sldMkLst>
          <pc:docMk/>
          <pc:sldMk cId="813545271" sldId="316"/>
        </pc:sldMkLst>
        <pc:spChg chg="mod">
          <ac:chgData name="Ewen Trafford" userId="e520b4bf-a196-48b7-bc10-b1590a457daa" providerId="ADAL" clId="{050F2901-02EA-4CCD-80E9-59020FB821DE}" dt="2022-05-31T12:47:03.893" v="176" actId="13926"/>
          <ac:spMkLst>
            <pc:docMk/>
            <pc:sldMk cId="813545271" sldId="316"/>
            <ac:spMk id="4" creationId="{B951880E-2548-03FC-30F1-559F3B67733E}"/>
          </ac:spMkLst>
        </pc:spChg>
      </pc:sldChg>
      <pc:sldChg chg="modSp mod">
        <pc:chgData name="Ewen Trafford" userId="e520b4bf-a196-48b7-bc10-b1590a457daa" providerId="ADAL" clId="{050F2901-02EA-4CCD-80E9-59020FB821DE}" dt="2022-06-01T07:42:20.136" v="657" actId="20577"/>
        <pc:sldMkLst>
          <pc:docMk/>
          <pc:sldMk cId="1986818962" sldId="317"/>
        </pc:sldMkLst>
        <pc:spChg chg="mod">
          <ac:chgData name="Ewen Trafford" userId="e520b4bf-a196-48b7-bc10-b1590a457daa" providerId="ADAL" clId="{050F2901-02EA-4CCD-80E9-59020FB821DE}" dt="2022-06-01T07:42:20.136" v="657" actId="20577"/>
          <ac:spMkLst>
            <pc:docMk/>
            <pc:sldMk cId="1986818962" sldId="317"/>
            <ac:spMk id="3" creationId="{F542AE94-456A-179B-63E4-5401D70ED4F9}"/>
          </ac:spMkLst>
        </pc:spChg>
      </pc:sldChg>
      <pc:sldChg chg="addSp delSp modSp add mod">
        <pc:chgData name="Ewen Trafford" userId="e520b4bf-a196-48b7-bc10-b1590a457daa" providerId="ADAL" clId="{050F2901-02EA-4CCD-80E9-59020FB821DE}" dt="2022-05-31T13:01:47.360" v="585" actId="962"/>
        <pc:sldMkLst>
          <pc:docMk/>
          <pc:sldMk cId="2671712240" sldId="318"/>
        </pc:sldMkLst>
        <pc:spChg chg="mod">
          <ac:chgData name="Ewen Trafford" userId="e520b4bf-a196-48b7-bc10-b1590a457daa" providerId="ADAL" clId="{050F2901-02EA-4CCD-80E9-59020FB821DE}" dt="2022-05-31T13:00:40.699" v="581" actId="20577"/>
          <ac:spMkLst>
            <pc:docMk/>
            <pc:sldMk cId="2671712240" sldId="318"/>
            <ac:spMk id="3" creationId="{96959814-9071-EAE4-F7AC-76E25031DC00}"/>
          </ac:spMkLst>
        </pc:spChg>
        <pc:spChg chg="del">
          <ac:chgData name="Ewen Trafford" userId="e520b4bf-a196-48b7-bc10-b1590a457daa" providerId="ADAL" clId="{050F2901-02EA-4CCD-80E9-59020FB821DE}" dt="2022-05-31T12:56:45.147" v="198" actId="478"/>
          <ac:spMkLst>
            <pc:docMk/>
            <pc:sldMk cId="2671712240" sldId="318"/>
            <ac:spMk id="4" creationId="{70457893-B388-CA53-3E6E-105567370A9A}"/>
          </ac:spMkLst>
        </pc:spChg>
        <pc:picChg chg="add mod">
          <ac:chgData name="Ewen Trafford" userId="e520b4bf-a196-48b7-bc10-b1590a457daa" providerId="ADAL" clId="{050F2901-02EA-4CCD-80E9-59020FB821DE}" dt="2022-05-31T13:01:47.360" v="585" actId="962"/>
          <ac:picMkLst>
            <pc:docMk/>
            <pc:sldMk cId="2671712240" sldId="318"/>
            <ac:picMk id="6" creationId="{3A8E65E4-A4F0-4971-8A62-91D0ADADF820}"/>
          </ac:picMkLst>
        </pc:picChg>
      </pc:sldChg>
      <pc:sldChg chg="addSp delSp modSp add mod">
        <pc:chgData name="Ewen Trafford" userId="e520b4bf-a196-48b7-bc10-b1590a457daa" providerId="ADAL" clId="{050F2901-02EA-4CCD-80E9-59020FB821DE}" dt="2022-06-01T15:10:16.908" v="1645" actId="1076"/>
        <pc:sldMkLst>
          <pc:docMk/>
          <pc:sldMk cId="3242718659" sldId="321"/>
        </pc:sldMkLst>
        <pc:spChg chg="mod">
          <ac:chgData name="Ewen Trafford" userId="e520b4bf-a196-48b7-bc10-b1590a457daa" providerId="ADAL" clId="{050F2901-02EA-4CCD-80E9-59020FB821DE}" dt="2022-06-01T14:54:12.482" v="826" actId="20577"/>
          <ac:spMkLst>
            <pc:docMk/>
            <pc:sldMk cId="3242718659" sldId="321"/>
            <ac:spMk id="2" creationId="{ECB39143-43DB-404B-999A-68A64BABF4DE}"/>
          </ac:spMkLst>
        </pc:spChg>
        <pc:spChg chg="del">
          <ac:chgData name="Ewen Trafford" userId="e520b4bf-a196-48b7-bc10-b1590a457daa" providerId="ADAL" clId="{050F2901-02EA-4CCD-80E9-59020FB821DE}" dt="2022-06-01T14:42:30.801" v="675" actId="478"/>
          <ac:spMkLst>
            <pc:docMk/>
            <pc:sldMk cId="3242718659" sldId="321"/>
            <ac:spMk id="3" creationId="{82E1E8C1-13C2-39F4-CCF1-E26E44E671DB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4" creationId="{89628BFC-AD4C-4038-9C13-847717E6B879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6" creationId="{31B29C72-F459-4D61-AB49-7BB7D575ED6F}"/>
          </ac:spMkLst>
        </pc:spChg>
        <pc:spChg chg="del">
          <ac:chgData name="Ewen Trafford" userId="e520b4bf-a196-48b7-bc10-b1590a457daa" providerId="ADAL" clId="{050F2901-02EA-4CCD-80E9-59020FB821DE}" dt="2022-06-01T14:42:28.965" v="673" actId="478"/>
          <ac:spMkLst>
            <pc:docMk/>
            <pc:sldMk cId="3242718659" sldId="321"/>
            <ac:spMk id="8" creationId="{EC2AA5D8-F8D8-4242-8DAC-9758B8843027}"/>
          </ac:spMkLst>
        </pc:spChg>
        <pc:spChg chg="del mod">
          <ac:chgData name="Ewen Trafford" userId="e520b4bf-a196-48b7-bc10-b1590a457daa" providerId="ADAL" clId="{050F2901-02EA-4CCD-80E9-59020FB821DE}" dt="2022-06-01T14:45:23.173" v="704" actId="478"/>
          <ac:spMkLst>
            <pc:docMk/>
            <pc:sldMk cId="3242718659" sldId="321"/>
            <ac:spMk id="13" creationId="{02E09705-AFB4-4B4A-89E0-334E95AD3D06}"/>
          </ac:spMkLst>
        </pc:spChg>
        <pc:spChg chg="mod">
          <ac:chgData name="Ewen Trafford" userId="e520b4bf-a196-48b7-bc10-b1590a457daa" providerId="ADAL" clId="{050F2901-02EA-4CCD-80E9-59020FB821DE}" dt="2022-06-01T14:54:19.404" v="828" actId="1076"/>
          <ac:spMkLst>
            <pc:docMk/>
            <pc:sldMk cId="3242718659" sldId="321"/>
            <ac:spMk id="16" creationId="{4421B915-9D86-4631-82D1-085C58FC3686}"/>
          </ac:spMkLst>
        </pc:spChg>
        <pc:spChg chg="mod">
          <ac:chgData name="Ewen Trafford" userId="e520b4bf-a196-48b7-bc10-b1590a457daa" providerId="ADAL" clId="{050F2901-02EA-4CCD-80E9-59020FB821DE}" dt="2022-06-01T14:45:58.673" v="711" actId="1076"/>
          <ac:spMkLst>
            <pc:docMk/>
            <pc:sldMk cId="3242718659" sldId="321"/>
            <ac:spMk id="17" creationId="{A13F6C8C-2CBC-458D-A635-4F60970A1540}"/>
          </ac:spMkLst>
        </pc:spChg>
        <pc:spChg chg="mod">
          <ac:chgData name="Ewen Trafford" userId="e520b4bf-a196-48b7-bc10-b1590a457daa" providerId="ADAL" clId="{050F2901-02EA-4CCD-80E9-59020FB821DE}" dt="2022-06-01T14:45:54.606" v="710" actId="1076"/>
          <ac:spMkLst>
            <pc:docMk/>
            <pc:sldMk cId="3242718659" sldId="321"/>
            <ac:spMk id="18" creationId="{D2602FB9-EF64-4C79-864B-4B1281DF5A3C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19" creationId="{63D851DD-2719-49ED-9982-C9D7A231E8B7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20" creationId="{D796803E-7ED7-40D2-843A-CF930D929DD1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21" creationId="{EBAA8E3F-92D8-49FC-9113-46FC31899FEB}"/>
          </ac:spMkLst>
        </pc:spChg>
        <pc:grpChg chg="add mod">
          <ac:chgData name="Ewen Trafford" userId="e520b4bf-a196-48b7-bc10-b1590a457daa" providerId="ADAL" clId="{050F2901-02EA-4CCD-80E9-59020FB821DE}" dt="2022-06-01T15:06:11.856" v="1523" actId="1076"/>
          <ac:grpSpMkLst>
            <pc:docMk/>
            <pc:sldMk cId="3242718659" sldId="321"/>
            <ac:grpSpMk id="12" creationId="{A62D8B44-8FE2-4FD9-B9BE-4A267BF086D7}"/>
          </ac:grpSpMkLst>
        </pc:grpChg>
        <pc:picChg chg="del">
          <ac:chgData name="Ewen Trafford" userId="e520b4bf-a196-48b7-bc10-b1590a457daa" providerId="ADAL" clId="{050F2901-02EA-4CCD-80E9-59020FB821DE}" dt="2022-06-01T14:42:29.558" v="674" actId="478"/>
          <ac:picMkLst>
            <pc:docMk/>
            <pc:sldMk cId="3242718659" sldId="321"/>
            <ac:picMk id="5" creationId="{FA42C68B-E6E9-486C-8F93-455C9B1B04F2}"/>
          </ac:picMkLst>
        </pc:picChg>
        <pc:picChg chg="add mod modCrop">
          <ac:chgData name="Ewen Trafford" userId="e520b4bf-a196-48b7-bc10-b1590a457daa" providerId="ADAL" clId="{050F2901-02EA-4CCD-80E9-59020FB821DE}" dt="2022-06-01T15:10:16.908" v="1645" actId="1076"/>
          <ac:picMkLst>
            <pc:docMk/>
            <pc:sldMk cId="3242718659" sldId="321"/>
            <ac:picMk id="9" creationId="{1466BC97-189B-4972-BE31-96AB3B3AE643}"/>
          </ac:picMkLst>
        </pc:picChg>
        <pc:picChg chg="add mod modCrop">
          <ac:chgData name="Ewen Trafford" userId="e520b4bf-a196-48b7-bc10-b1590a457daa" providerId="ADAL" clId="{050F2901-02EA-4CCD-80E9-59020FB821DE}" dt="2022-06-01T15:10:16.908" v="1645" actId="1076"/>
          <ac:picMkLst>
            <pc:docMk/>
            <pc:sldMk cId="3242718659" sldId="321"/>
            <ac:picMk id="10" creationId="{5FCB5562-066A-479A-9BAF-E6F78009EA1F}"/>
          </ac:picMkLst>
        </pc:picChg>
        <pc:picChg chg="add mod modCrop">
          <ac:chgData name="Ewen Trafford" userId="e520b4bf-a196-48b7-bc10-b1590a457daa" providerId="ADAL" clId="{050F2901-02EA-4CCD-80E9-59020FB821DE}" dt="2022-06-01T15:10:16.908" v="1645" actId="1076"/>
          <ac:picMkLst>
            <pc:docMk/>
            <pc:sldMk cId="3242718659" sldId="321"/>
            <ac:picMk id="11" creationId="{89676DCE-A09A-43C6-86F0-CFE5E78CBAE2}"/>
          </ac:picMkLst>
        </pc:picChg>
        <pc:picChg chg="mod">
          <ac:chgData name="Ewen Trafford" userId="e520b4bf-a196-48b7-bc10-b1590a457daa" providerId="ADAL" clId="{050F2901-02EA-4CCD-80E9-59020FB821DE}" dt="2022-06-01T14:45:58.673" v="711" actId="1076"/>
          <ac:picMkLst>
            <pc:docMk/>
            <pc:sldMk cId="3242718659" sldId="321"/>
            <ac:picMk id="14" creationId="{DF478CA5-8AEF-4A9C-8CB8-B8BE780BC85D}"/>
          </ac:picMkLst>
        </pc:picChg>
        <pc:picChg chg="mod">
          <ac:chgData name="Ewen Trafford" userId="e520b4bf-a196-48b7-bc10-b1590a457daa" providerId="ADAL" clId="{050F2901-02EA-4CCD-80E9-59020FB821DE}" dt="2022-06-01T14:45:54.606" v="710" actId="1076"/>
          <ac:picMkLst>
            <pc:docMk/>
            <pc:sldMk cId="3242718659" sldId="321"/>
            <ac:picMk id="15" creationId="{BDA3A3D1-523C-4E42-8D1C-D0F7925473FD}"/>
          </ac:picMkLst>
        </pc:picChg>
        <pc:picChg chg="add del mod ord">
          <ac:chgData name="Ewen Trafford" userId="e520b4bf-a196-48b7-bc10-b1590a457daa" providerId="ADAL" clId="{050F2901-02EA-4CCD-80E9-59020FB821DE}" dt="2022-06-01T15:06:48.524" v="1530" actId="478"/>
          <ac:picMkLst>
            <pc:docMk/>
            <pc:sldMk cId="3242718659" sldId="321"/>
            <ac:picMk id="22" creationId="{B29CD897-5734-4FBF-8DFE-860FE228EFE6}"/>
          </ac:picMkLst>
        </pc:picChg>
        <pc:picChg chg="add del mod ord">
          <ac:chgData name="Ewen Trafford" userId="e520b4bf-a196-48b7-bc10-b1590a457daa" providerId="ADAL" clId="{050F2901-02EA-4CCD-80E9-59020FB821DE}" dt="2022-06-01T15:07:06.574" v="1539" actId="478"/>
          <ac:picMkLst>
            <pc:docMk/>
            <pc:sldMk cId="3242718659" sldId="321"/>
            <ac:picMk id="23" creationId="{AA0EA621-015E-4CD6-94AC-8AE129A34A3B}"/>
          </ac:picMkLst>
        </pc:picChg>
        <pc:picChg chg="add del mod ord">
          <ac:chgData name="Ewen Trafford" userId="e520b4bf-a196-48b7-bc10-b1590a457daa" providerId="ADAL" clId="{050F2901-02EA-4CCD-80E9-59020FB821DE}" dt="2022-06-01T15:07:25.797" v="1548" actId="478"/>
          <ac:picMkLst>
            <pc:docMk/>
            <pc:sldMk cId="3242718659" sldId="321"/>
            <ac:picMk id="24" creationId="{3E8EF79E-AB44-45EC-9BD9-EF8AC14540B1}"/>
          </ac:picMkLst>
        </pc:picChg>
      </pc:sldChg>
      <pc:sldChg chg="addSp delSp modSp add mod">
        <pc:chgData name="Ewen Trafford" userId="e520b4bf-a196-48b7-bc10-b1590a457daa" providerId="ADAL" clId="{050F2901-02EA-4CCD-80E9-59020FB821DE}" dt="2022-06-01T15:06:06.346" v="1522" actId="1076"/>
        <pc:sldMkLst>
          <pc:docMk/>
          <pc:sldMk cId="3997623350" sldId="322"/>
        </pc:sldMkLst>
        <pc:spChg chg="mod">
          <ac:chgData name="Ewen Trafford" userId="e520b4bf-a196-48b7-bc10-b1590a457daa" providerId="ADAL" clId="{050F2901-02EA-4CCD-80E9-59020FB821DE}" dt="2022-06-01T14:54:03.155" v="800" actId="20577"/>
          <ac:spMkLst>
            <pc:docMk/>
            <pc:sldMk cId="3997623350" sldId="322"/>
            <ac:spMk id="2" creationId="{ECB39143-43DB-404B-999A-68A64BABF4DE}"/>
          </ac:spMkLst>
        </pc:spChg>
        <pc:spChg chg="mod">
          <ac:chgData name="Ewen Trafford" userId="e520b4bf-a196-48b7-bc10-b1590a457daa" providerId="ADAL" clId="{050F2901-02EA-4CCD-80E9-59020FB821DE}" dt="2022-06-01T14:53:39.436" v="772" actId="1076"/>
          <ac:spMkLst>
            <pc:docMk/>
            <pc:sldMk cId="3997623350" sldId="322"/>
            <ac:spMk id="16" creationId="{4421B915-9D86-4631-82D1-085C58FC3686}"/>
          </ac:spMkLst>
        </pc:spChg>
        <pc:spChg chg="mod">
          <ac:chgData name="Ewen Trafford" userId="e520b4bf-a196-48b7-bc10-b1590a457daa" providerId="ADAL" clId="{050F2901-02EA-4CCD-80E9-59020FB821DE}" dt="2022-06-01T14:49:59.272" v="764" actId="1076"/>
          <ac:spMkLst>
            <pc:docMk/>
            <pc:sldMk cId="3997623350" sldId="322"/>
            <ac:spMk id="18" creationId="{D2602FB9-EF64-4C79-864B-4B1281DF5A3C}"/>
          </ac:spMkLst>
        </pc:spChg>
        <pc:spChg chg="add mod">
          <ac:chgData name="Ewen Trafford" userId="e520b4bf-a196-48b7-bc10-b1590a457daa" providerId="ADAL" clId="{050F2901-02EA-4CCD-80E9-59020FB821DE}" dt="2022-06-01T15:00:04.625" v="1386" actId="164"/>
          <ac:spMkLst>
            <pc:docMk/>
            <pc:sldMk cId="3997623350" sldId="322"/>
            <ac:spMk id="21" creationId="{934D44A2-803B-4163-B8D6-63CCD04FB6D6}"/>
          </ac:spMkLst>
        </pc:spChg>
        <pc:spChg chg="add mod">
          <ac:chgData name="Ewen Trafford" userId="e520b4bf-a196-48b7-bc10-b1590a457daa" providerId="ADAL" clId="{050F2901-02EA-4CCD-80E9-59020FB821DE}" dt="2022-06-01T15:04:25.046" v="1439" actId="1076"/>
          <ac:spMkLst>
            <pc:docMk/>
            <pc:sldMk cId="3997623350" sldId="322"/>
            <ac:spMk id="22" creationId="{F977F16C-AD46-4BC6-B293-7D8019CB465C}"/>
          </ac:spMkLst>
        </pc:spChg>
        <pc:spChg chg="add mod">
          <ac:chgData name="Ewen Trafford" userId="e520b4bf-a196-48b7-bc10-b1590a457daa" providerId="ADAL" clId="{050F2901-02EA-4CCD-80E9-59020FB821DE}" dt="2022-06-01T15:04:38.840" v="1440" actId="1076"/>
          <ac:spMkLst>
            <pc:docMk/>
            <pc:sldMk cId="3997623350" sldId="322"/>
            <ac:spMk id="23" creationId="{CBB1DB9A-8EAF-4F2A-AF66-91C87E164E80}"/>
          </ac:spMkLst>
        </pc:spChg>
        <pc:spChg chg="add mod">
          <ac:chgData name="Ewen Trafford" userId="e520b4bf-a196-48b7-bc10-b1590a457daa" providerId="ADAL" clId="{050F2901-02EA-4CCD-80E9-59020FB821DE}" dt="2022-06-01T15:01:36.754" v="1406" actId="1037"/>
          <ac:spMkLst>
            <pc:docMk/>
            <pc:sldMk cId="3997623350" sldId="322"/>
            <ac:spMk id="24" creationId="{0F708853-0B3B-469A-AAA9-6330C1F71C33}"/>
          </ac:spMkLst>
        </pc:spChg>
        <pc:spChg chg="add mod">
          <ac:chgData name="Ewen Trafford" userId="e520b4bf-a196-48b7-bc10-b1590a457daa" providerId="ADAL" clId="{050F2901-02EA-4CCD-80E9-59020FB821DE}" dt="2022-06-01T15:03:54.820" v="1418" actId="1076"/>
          <ac:spMkLst>
            <pc:docMk/>
            <pc:sldMk cId="3997623350" sldId="322"/>
            <ac:spMk id="25" creationId="{998B4088-D9BA-4295-8D70-E7F4D7790401}"/>
          </ac:spMkLst>
        </pc:spChg>
        <pc:spChg chg="add mod">
          <ac:chgData name="Ewen Trafford" userId="e520b4bf-a196-48b7-bc10-b1590a457daa" providerId="ADAL" clId="{050F2901-02EA-4CCD-80E9-59020FB821DE}" dt="2022-06-01T15:06:02.510" v="1521" actId="1076"/>
          <ac:spMkLst>
            <pc:docMk/>
            <pc:sldMk cId="3997623350" sldId="322"/>
            <ac:spMk id="26" creationId="{D4D2C9E5-41BE-494E-84A0-DC1FB2634DAF}"/>
          </ac:spMkLst>
        </pc:spChg>
        <pc:grpChg chg="add mod">
          <ac:chgData name="Ewen Trafford" userId="e520b4bf-a196-48b7-bc10-b1590a457daa" providerId="ADAL" clId="{050F2901-02EA-4CCD-80E9-59020FB821DE}" dt="2022-06-01T15:06:06.346" v="1522" actId="1076"/>
          <ac:grpSpMkLst>
            <pc:docMk/>
            <pc:sldMk cId="3997623350" sldId="322"/>
            <ac:grpSpMk id="3" creationId="{7C4C0830-9010-4332-9853-9720AA38B930}"/>
          </ac:grpSpMkLst>
        </pc:grpChg>
        <pc:grpChg chg="mod">
          <ac:chgData name="Ewen Trafford" userId="e520b4bf-a196-48b7-bc10-b1590a457daa" providerId="ADAL" clId="{050F2901-02EA-4CCD-80E9-59020FB821DE}" dt="2022-06-01T15:00:04.625" v="1386" actId="164"/>
          <ac:grpSpMkLst>
            <pc:docMk/>
            <pc:sldMk cId="3997623350" sldId="322"/>
            <ac:grpSpMk id="12" creationId="{A62D8B44-8FE2-4FD9-B9BE-4A267BF086D7}"/>
          </ac:grpSpMkLst>
        </pc:grpChg>
        <pc:picChg chg="add mod">
          <ac:chgData name="Ewen Trafford" userId="e520b4bf-a196-48b7-bc10-b1590a457daa" providerId="ADAL" clId="{050F2901-02EA-4CCD-80E9-59020FB821DE}" dt="2022-06-01T15:03:50.307" v="1416" actId="1076"/>
          <ac:picMkLst>
            <pc:docMk/>
            <pc:sldMk cId="3997623350" sldId="322"/>
            <ac:picMk id="5" creationId="{850D856E-01E9-4167-AA4F-3D42A85E9FA3}"/>
          </ac:picMkLst>
        </pc:picChg>
        <pc:picChg chg="del">
          <ac:chgData name="Ewen Trafford" userId="e520b4bf-a196-48b7-bc10-b1590a457daa" providerId="ADAL" clId="{050F2901-02EA-4CCD-80E9-59020FB821DE}" dt="2022-06-01T14:48:19.191" v="750" actId="478"/>
          <ac:picMkLst>
            <pc:docMk/>
            <pc:sldMk cId="3997623350" sldId="322"/>
            <ac:picMk id="9" creationId="{1466BC97-189B-4972-BE31-96AB3B3AE643}"/>
          </ac:picMkLst>
        </pc:picChg>
        <pc:picChg chg="del">
          <ac:chgData name="Ewen Trafford" userId="e520b4bf-a196-48b7-bc10-b1590a457daa" providerId="ADAL" clId="{050F2901-02EA-4CCD-80E9-59020FB821DE}" dt="2022-06-01T14:48:19.610" v="751" actId="478"/>
          <ac:picMkLst>
            <pc:docMk/>
            <pc:sldMk cId="3997623350" sldId="322"/>
            <ac:picMk id="10" creationId="{5FCB5562-066A-479A-9BAF-E6F78009EA1F}"/>
          </ac:picMkLst>
        </pc:picChg>
        <pc:picChg chg="del">
          <ac:chgData name="Ewen Trafford" userId="e520b4bf-a196-48b7-bc10-b1590a457daa" providerId="ADAL" clId="{050F2901-02EA-4CCD-80E9-59020FB821DE}" dt="2022-06-01T14:48:19.972" v="752" actId="478"/>
          <ac:picMkLst>
            <pc:docMk/>
            <pc:sldMk cId="3997623350" sldId="322"/>
            <ac:picMk id="11" creationId="{89676DCE-A09A-43C6-86F0-CFE5E78CBAE2}"/>
          </ac:picMkLst>
        </pc:picChg>
        <pc:picChg chg="add mod">
          <ac:chgData name="Ewen Trafford" userId="e520b4bf-a196-48b7-bc10-b1590a457daa" providerId="ADAL" clId="{050F2901-02EA-4CCD-80E9-59020FB821DE}" dt="2022-06-01T15:04:25.046" v="1439" actId="1076"/>
          <ac:picMkLst>
            <pc:docMk/>
            <pc:sldMk cId="3997623350" sldId="322"/>
            <ac:picMk id="13" creationId="{092802BF-F80A-4D1E-AC60-D53B3D0CE2FD}"/>
          </ac:picMkLst>
        </pc:picChg>
        <pc:picChg chg="mod">
          <ac:chgData name="Ewen Trafford" userId="e520b4bf-a196-48b7-bc10-b1590a457daa" providerId="ADAL" clId="{050F2901-02EA-4CCD-80E9-59020FB821DE}" dt="2022-06-01T14:49:56.223" v="763" actId="1076"/>
          <ac:picMkLst>
            <pc:docMk/>
            <pc:sldMk cId="3997623350" sldId="322"/>
            <ac:picMk id="15" creationId="{BDA3A3D1-523C-4E42-8D1C-D0F7925473FD}"/>
          </ac:picMkLst>
        </pc:picChg>
        <pc:picChg chg="add mod modCrop">
          <ac:chgData name="Ewen Trafford" userId="e520b4bf-a196-48b7-bc10-b1590a457daa" providerId="ADAL" clId="{050F2901-02EA-4CCD-80E9-59020FB821DE}" dt="2022-06-01T15:00:27.923" v="1390" actId="1035"/>
          <ac:picMkLst>
            <pc:docMk/>
            <pc:sldMk cId="3997623350" sldId="322"/>
            <ac:picMk id="19" creationId="{B4A403E4-7F35-4DFE-AE02-2E83C1A9E551}"/>
          </ac:picMkLst>
        </pc:picChg>
        <pc:picChg chg="add mod">
          <ac:chgData name="Ewen Trafford" userId="e520b4bf-a196-48b7-bc10-b1590a457daa" providerId="ADAL" clId="{050F2901-02EA-4CCD-80E9-59020FB821DE}" dt="2022-06-01T15:00:04.625" v="1386" actId="164"/>
          <ac:picMkLst>
            <pc:docMk/>
            <pc:sldMk cId="3997623350" sldId="322"/>
            <ac:picMk id="20" creationId="{AAD0D4BD-BB50-448D-8BFB-CF83752266AE}"/>
          </ac:picMkLst>
        </pc:picChg>
      </pc:sldChg>
    </pc:docChg>
  </pc:docChgLst>
  <pc:docChgLst>
    <pc:chgData name="Frances Meek" userId="f3af35cc-3229-46e1-af36-3525661cfbd3" providerId="ADAL" clId="{87623F04-A02B-4619-88F8-7754EC5BB880}"/>
    <pc:docChg chg="modSld">
      <pc:chgData name="Frances Meek" userId="f3af35cc-3229-46e1-af36-3525661cfbd3" providerId="ADAL" clId="{87623F04-A02B-4619-88F8-7754EC5BB880}" dt="2022-09-25T11:40:19.537" v="20" actId="1076"/>
      <pc:docMkLst>
        <pc:docMk/>
      </pc:docMkLst>
      <pc:sldChg chg="addSp modSp mod">
        <pc:chgData name="Frances Meek" userId="f3af35cc-3229-46e1-af36-3525661cfbd3" providerId="ADAL" clId="{87623F04-A02B-4619-88F8-7754EC5BB880}" dt="2022-09-25T11:40:19.537" v="20" actId="1076"/>
        <pc:sldMkLst>
          <pc:docMk/>
          <pc:sldMk cId="2302005153" sldId="261"/>
        </pc:sldMkLst>
        <pc:spChg chg="add mod">
          <ac:chgData name="Frances Meek" userId="f3af35cc-3229-46e1-af36-3525661cfbd3" providerId="ADAL" clId="{87623F04-A02B-4619-88F8-7754EC5BB880}" dt="2022-09-25T11:40:19.537" v="20" actId="1076"/>
          <ac:spMkLst>
            <pc:docMk/>
            <pc:sldMk cId="2302005153" sldId="261"/>
            <ac:spMk id="6" creationId="{B56E8DE8-0542-D29E-5DCF-8FEE4D2541E9}"/>
          </ac:spMkLst>
        </pc:spChg>
      </pc:sldChg>
      <pc:sldChg chg="modSp mod">
        <pc:chgData name="Frances Meek" userId="f3af35cc-3229-46e1-af36-3525661cfbd3" providerId="ADAL" clId="{87623F04-A02B-4619-88F8-7754EC5BB880}" dt="2022-09-25T11:38:48.109" v="0" actId="2711"/>
        <pc:sldMkLst>
          <pc:docMk/>
          <pc:sldMk cId="2429178958" sldId="351"/>
        </pc:sldMkLst>
        <pc:spChg chg="mod">
          <ac:chgData name="Frances Meek" userId="f3af35cc-3229-46e1-af36-3525661cfbd3" providerId="ADAL" clId="{87623F04-A02B-4619-88F8-7754EC5BB880}" dt="2022-09-25T11:38:48.109" v="0" actId="2711"/>
          <ac:spMkLst>
            <pc:docMk/>
            <pc:sldMk cId="2429178958" sldId="351"/>
            <ac:spMk id="3" creationId="{00000000-0000-0000-0000-000000000000}"/>
          </ac:spMkLst>
        </pc:spChg>
      </pc:sldChg>
    </pc:docChg>
  </pc:docChgLst>
  <pc:docChgLst>
    <pc:chgData name="Guest User" userId="S::urn:spo:anon#5c1cd7b39cb30a75ca1cea0fb2ba435992d6c6a6b484349a9ca7505025227c67::" providerId="AD" clId="Web-{1D1D411A-8275-DB23-6E41-6CDACB55E66B}"/>
    <pc:docChg chg="addSld modSld">
      <pc:chgData name="Guest User" userId="S::urn:spo:anon#5c1cd7b39cb30a75ca1cea0fb2ba435992d6c6a6b484349a9ca7505025227c67::" providerId="AD" clId="Web-{1D1D411A-8275-DB23-6E41-6CDACB55E66B}" dt="2022-07-12T11:43:11.363" v="591"/>
      <pc:docMkLst>
        <pc:docMk/>
      </pc:docMkLst>
      <pc:sldChg chg="modSp">
        <pc:chgData name="Guest User" userId="S::urn:spo:anon#5c1cd7b39cb30a75ca1cea0fb2ba435992d6c6a6b484349a9ca7505025227c67::" providerId="AD" clId="Web-{1D1D411A-8275-DB23-6E41-6CDACB55E66B}" dt="2022-07-12T08:54:23.051" v="1" actId="20577"/>
        <pc:sldMkLst>
          <pc:docMk/>
          <pc:sldMk cId="3137792006" sldId="277"/>
        </pc:sldMkLst>
        <pc:spChg chg="mod">
          <ac:chgData name="Guest User" userId="S::urn:spo:anon#5c1cd7b39cb30a75ca1cea0fb2ba435992d6c6a6b484349a9ca7505025227c67::" providerId="AD" clId="Web-{1D1D411A-8275-DB23-6E41-6CDACB55E66B}" dt="2022-07-12T08:54:23.051" v="1" actId="20577"/>
          <ac:spMkLst>
            <pc:docMk/>
            <pc:sldMk cId="3137792006" sldId="277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1D1D411A-8275-DB23-6E41-6CDACB55E66B}" dt="2022-07-12T10:50:21.414" v="22" actId="20577"/>
        <pc:sldMkLst>
          <pc:docMk/>
          <pc:sldMk cId="4146092675" sldId="301"/>
        </pc:sldMkLst>
        <pc:spChg chg="mod">
          <ac:chgData name="Guest User" userId="S::urn:spo:anon#5c1cd7b39cb30a75ca1cea0fb2ba435992d6c6a6b484349a9ca7505025227c67::" providerId="AD" clId="Web-{1D1D411A-8275-DB23-6E41-6CDACB55E66B}" dt="2022-07-12T10:50:21.414" v="22" actId="20577"/>
          <ac:spMkLst>
            <pc:docMk/>
            <pc:sldMk cId="4146092675" sldId="301"/>
            <ac:spMk id="4" creationId="{AD0D0778-949E-4414-BC9B-77E033DFFAA2}"/>
          </ac:spMkLst>
        </pc:spChg>
      </pc:sldChg>
      <pc:sldChg chg="modSp">
        <pc:chgData name="Guest User" userId="S::urn:spo:anon#5c1cd7b39cb30a75ca1cea0fb2ba435992d6c6a6b484349a9ca7505025227c67::" providerId="AD" clId="Web-{1D1D411A-8275-DB23-6E41-6CDACB55E66B}" dt="2022-07-12T10:48:32.348" v="18" actId="1076"/>
        <pc:sldMkLst>
          <pc:docMk/>
          <pc:sldMk cId="3209739012" sldId="310"/>
        </pc:sldMkLst>
        <pc:spChg chg="mod">
          <ac:chgData name="Guest User" userId="S::urn:spo:anon#5c1cd7b39cb30a75ca1cea0fb2ba435992d6c6a6b484349a9ca7505025227c67::" providerId="AD" clId="Web-{1D1D411A-8275-DB23-6E41-6CDACB55E66B}" dt="2022-07-12T10:48:32.348" v="18" actId="1076"/>
          <ac:spMkLst>
            <pc:docMk/>
            <pc:sldMk cId="3209739012" sldId="310"/>
            <ac:spMk id="2" creationId="{ECB39143-43DB-404B-999A-68A64BABF4DE}"/>
          </ac:spMkLst>
        </pc:spChg>
      </pc:sldChg>
      <pc:sldChg chg="addSp delSp modSp new">
        <pc:chgData name="Guest User" userId="S::urn:spo:anon#5c1cd7b39cb30a75ca1cea0fb2ba435992d6c6a6b484349a9ca7505025227c67::" providerId="AD" clId="Web-{1D1D411A-8275-DB23-6E41-6CDACB55E66B}" dt="2022-07-12T11:24:18.488" v="319" actId="1076"/>
        <pc:sldMkLst>
          <pc:docMk/>
          <pc:sldMk cId="1295128182" sldId="323"/>
        </pc:sldMkLst>
        <pc:spChg chg="mod">
          <ac:chgData name="Guest User" userId="S::urn:spo:anon#5c1cd7b39cb30a75ca1cea0fb2ba435992d6c6a6b484349a9ca7505025227c67::" providerId="AD" clId="Web-{1D1D411A-8275-DB23-6E41-6CDACB55E66B}" dt="2022-07-12T10:20:06.435" v="11" actId="20577"/>
          <ac:spMkLst>
            <pc:docMk/>
            <pc:sldMk cId="1295128182" sldId="323"/>
            <ac:spMk id="2" creationId="{2F7E561F-2127-93AD-E5E8-F261FB5AE578}"/>
          </ac:spMkLst>
        </pc:spChg>
        <pc:spChg chg="del mod">
          <ac:chgData name="Guest User" userId="S::urn:spo:anon#5c1cd7b39cb30a75ca1cea0fb2ba435992d6c6a6b484349a9ca7505025227c67::" providerId="AD" clId="Web-{1D1D411A-8275-DB23-6E41-6CDACB55E66B}" dt="2022-07-12T11:07:45.600" v="177"/>
          <ac:spMkLst>
            <pc:docMk/>
            <pc:sldMk cId="1295128182" sldId="323"/>
            <ac:spMk id="3" creationId="{EE92ADC3-30A9-6CAD-E756-BB070B988DAC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0:56:38.175" v="105" actId="20577"/>
          <ac:spMkLst>
            <pc:docMk/>
            <pc:sldMk cId="1295128182" sldId="323"/>
            <ac:spMk id="7" creationId="{BE51C01F-C888-7601-AF8A-1C458D90020A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1:09:11.852" v="184" actId="1076"/>
          <ac:spMkLst>
            <pc:docMk/>
            <pc:sldMk cId="1295128182" sldId="323"/>
            <ac:spMk id="9" creationId="{E6787C31-AB7D-ED7B-C1FB-E3A99EF1458A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1:09:05.711" v="182" actId="1076"/>
          <ac:spMkLst>
            <pc:docMk/>
            <pc:sldMk cId="1295128182" sldId="323"/>
            <ac:spMk id="12" creationId="{ACAB7BCE-3F87-F281-E32F-23286F18B83B}"/>
          </ac:spMkLst>
        </pc:spChg>
        <pc:spChg chg="add del mod">
          <ac:chgData name="Guest User" userId="S::urn:spo:anon#5c1cd7b39cb30a75ca1cea0fb2ba435992d6c6a6b484349a9ca7505025227c67::" providerId="AD" clId="Web-{1D1D411A-8275-DB23-6E41-6CDACB55E66B}" dt="2022-07-12T11:09:01.758" v="181"/>
          <ac:spMkLst>
            <pc:docMk/>
            <pc:sldMk cId="1295128182" sldId="323"/>
            <ac:spMk id="14" creationId="{A5485BD3-9F0A-EC50-F55E-7D36A087E8B1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1:11:25.653" v="192" actId="20577"/>
          <ac:spMkLst>
            <pc:docMk/>
            <pc:sldMk cId="1295128182" sldId="323"/>
            <ac:spMk id="17" creationId="{9008EDF2-18EF-B7E9-26AA-51E6012BB81A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1:18:45.916" v="307" actId="20577"/>
          <ac:spMkLst>
            <pc:docMk/>
            <pc:sldMk cId="1295128182" sldId="323"/>
            <ac:spMk id="18" creationId="{AD7E7EC3-B1E2-11C7-0EF9-54645D9B41CE}"/>
          </ac:spMkLst>
        </pc:spChg>
        <pc:spChg chg="add del mod">
          <ac:chgData name="Guest User" userId="S::urn:spo:anon#5c1cd7b39cb30a75ca1cea0fb2ba435992d6c6a6b484349a9ca7505025227c67::" providerId="AD" clId="Web-{1D1D411A-8275-DB23-6E41-6CDACB55E66B}" dt="2022-07-12T11:16:07.302" v="290"/>
          <ac:spMkLst>
            <pc:docMk/>
            <pc:sldMk cId="1295128182" sldId="323"/>
            <ac:spMk id="19" creationId="{D0C84066-437F-A46F-29A2-864593E54DA5}"/>
          </ac:spMkLst>
        </pc:spChg>
        <pc:picChg chg="add del mod">
          <ac:chgData name="Guest User" userId="S::urn:spo:anon#5c1cd7b39cb30a75ca1cea0fb2ba435992d6c6a6b484349a9ca7505025227c67::" providerId="AD" clId="Web-{1D1D411A-8275-DB23-6E41-6CDACB55E66B}" dt="2022-07-12T11:09:07.743" v="183"/>
          <ac:picMkLst>
            <pc:docMk/>
            <pc:sldMk cId="1295128182" sldId="323"/>
            <ac:picMk id="5" creationId="{7E82FE6C-2704-BA2B-B36C-5A2198D4DA63}"/>
          </ac:picMkLst>
        </pc:picChg>
        <pc:picChg chg="add mod">
          <ac:chgData name="Guest User" userId="S::urn:spo:anon#5c1cd7b39cb30a75ca1cea0fb2ba435992d6c6a6b484349a9ca7505025227c67::" providerId="AD" clId="Web-{1D1D411A-8275-DB23-6E41-6CDACB55E66B}" dt="2022-07-12T11:16:18.864" v="293" actId="1076"/>
          <ac:picMkLst>
            <pc:docMk/>
            <pc:sldMk cId="1295128182" sldId="323"/>
            <ac:picMk id="11" creationId="{7A5C09E1-CEB7-781C-0DCC-3A8283AA8583}"/>
          </ac:picMkLst>
        </pc:picChg>
        <pc:picChg chg="add mod">
          <ac:chgData name="Guest User" userId="S::urn:spo:anon#5c1cd7b39cb30a75ca1cea0fb2ba435992d6c6a6b484349a9ca7505025227c67::" providerId="AD" clId="Web-{1D1D411A-8275-DB23-6E41-6CDACB55E66B}" dt="2022-07-12T11:09:41.619" v="189" actId="1076"/>
          <ac:picMkLst>
            <pc:docMk/>
            <pc:sldMk cId="1295128182" sldId="323"/>
            <ac:picMk id="16" creationId="{FBE7991B-02E9-AEEF-1552-E2EE83FA81E2}"/>
          </ac:picMkLst>
        </pc:picChg>
        <pc:picChg chg="add del mod">
          <ac:chgData name="Guest User" userId="S::urn:spo:anon#5c1cd7b39cb30a75ca1cea0fb2ba435992d6c6a6b484349a9ca7505025227c67::" providerId="AD" clId="Web-{1D1D411A-8275-DB23-6E41-6CDACB55E66B}" dt="2022-07-12T11:23:59.737" v="311"/>
          <ac:picMkLst>
            <pc:docMk/>
            <pc:sldMk cId="1295128182" sldId="323"/>
            <ac:picMk id="21" creationId="{B9C31303-A09F-6DBC-5586-B41E16BEB22C}"/>
          </ac:picMkLst>
        </pc:picChg>
        <pc:picChg chg="add mod">
          <ac:chgData name="Guest User" userId="S::urn:spo:anon#5c1cd7b39cb30a75ca1cea0fb2ba435992d6c6a6b484349a9ca7505025227c67::" providerId="AD" clId="Web-{1D1D411A-8275-DB23-6E41-6CDACB55E66B}" dt="2022-07-12T11:24:18.488" v="319" actId="1076"/>
          <ac:picMkLst>
            <pc:docMk/>
            <pc:sldMk cId="1295128182" sldId="323"/>
            <ac:picMk id="23" creationId="{56D382EA-5F76-FBF0-1CF8-22F19D4D1D52}"/>
          </ac:picMkLst>
        </pc:picChg>
      </pc:sldChg>
      <pc:sldChg chg="addSp delSp modSp new">
        <pc:chgData name="Guest User" userId="S::urn:spo:anon#5c1cd7b39cb30a75ca1cea0fb2ba435992d6c6a6b484349a9ca7505025227c67::" providerId="AD" clId="Web-{1D1D411A-8275-DB23-6E41-6CDACB55E66B}" dt="2022-07-12T11:43:11.363" v="591"/>
        <pc:sldMkLst>
          <pc:docMk/>
          <pc:sldMk cId="2450036879" sldId="324"/>
        </pc:sldMkLst>
        <pc:spChg chg="mod">
          <ac:chgData name="Guest User" userId="S::urn:spo:anon#5c1cd7b39cb30a75ca1cea0fb2ba435992d6c6a6b484349a9ca7505025227c67::" providerId="AD" clId="Web-{1D1D411A-8275-DB23-6E41-6CDACB55E66B}" dt="2022-07-12T10:47:36.643" v="17" actId="20577"/>
          <ac:spMkLst>
            <pc:docMk/>
            <pc:sldMk cId="2450036879" sldId="324"/>
            <ac:spMk id="2" creationId="{8549F38A-2811-8A0A-0903-F90C6CA9F351}"/>
          </ac:spMkLst>
        </pc:spChg>
        <pc:spChg chg="del mod">
          <ac:chgData name="Guest User" userId="S::urn:spo:anon#5c1cd7b39cb30a75ca1cea0fb2ba435992d6c6a6b484349a9ca7505025227c67::" providerId="AD" clId="Web-{1D1D411A-8275-DB23-6E41-6CDACB55E66B}" dt="2022-07-12T11:25:16.302" v="323"/>
          <ac:spMkLst>
            <pc:docMk/>
            <pc:sldMk cId="2450036879" sldId="324"/>
            <ac:spMk id="3" creationId="{27781D9B-4A2E-A492-48D7-E91B5EEF025A}"/>
          </ac:spMkLst>
        </pc:spChg>
        <pc:graphicFrameChg chg="add del mod">
          <ac:chgData name="Guest User" userId="S::urn:spo:anon#5c1cd7b39cb30a75ca1cea0fb2ba435992d6c6a6b484349a9ca7505025227c67::" providerId="AD" clId="Web-{1D1D411A-8275-DB23-6E41-6CDACB55E66B}" dt="2022-07-12T11:25:12.989" v="322"/>
          <ac:graphicFrameMkLst>
            <pc:docMk/>
            <pc:sldMk cId="2450036879" sldId="324"/>
            <ac:graphicFrameMk id="5" creationId="{235567B3-9644-EAA5-50F2-FD680E95E406}"/>
          </ac:graphicFrameMkLst>
        </pc:graphicFrameChg>
        <pc:graphicFrameChg chg="add mod modGraphic">
          <ac:chgData name="Guest User" userId="S::urn:spo:anon#5c1cd7b39cb30a75ca1cea0fb2ba435992d6c6a6b484349a9ca7505025227c67::" providerId="AD" clId="Web-{1D1D411A-8275-DB23-6E41-6CDACB55E66B}" dt="2022-07-12T11:43:11.363" v="591"/>
          <ac:graphicFrameMkLst>
            <pc:docMk/>
            <pc:sldMk cId="2450036879" sldId="324"/>
            <ac:graphicFrameMk id="7" creationId="{21663884-8A5D-DD9A-B4F0-E1EED248AA0D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595EDE-C814-4531-BA28-B0829ACBCA95}" type="datetimeFigureOut">
              <a:rPr lang="en-GB" smtClean="0"/>
              <a:t>25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73C9BA-5544-4F63-A48C-49913C4BC2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0844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2452" y="3531477"/>
            <a:ext cx="9144000" cy="73309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400" b="1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41072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53512" y="587760"/>
            <a:ext cx="9144000" cy="63549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0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3512" y="3065488"/>
            <a:ext cx="9144000" cy="3087973"/>
          </a:xfrm>
          <a:prstGeom prst="rect">
            <a:avLst/>
          </a:prstGeom>
        </p:spPr>
        <p:txBody>
          <a:bodyPr lIns="0" tIns="0" rIns="0" bIns="0"/>
          <a:lstStyle>
            <a:lvl1pPr marL="285750" indent="-285750" algn="l">
              <a:buFont typeface="Arial" charset="0"/>
              <a:buChar char="•"/>
              <a:defRPr sz="18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23767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9274" y="1563798"/>
            <a:ext cx="9720000" cy="7200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9276" y="2571092"/>
            <a:ext cx="97200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>
              <a:buSzPct val="90000"/>
              <a:buFont typeface="Arial" charset="0"/>
              <a:buChar char="•"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551343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209274" y="2571092"/>
            <a:ext cx="4680000" cy="3600000"/>
          </a:xfrm>
          <a:prstGeom prst="rect">
            <a:avLst/>
          </a:prstGeom>
          <a:solidFill>
            <a:srgbClr val="FCE3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69276" y="2571092"/>
            <a:ext cx="4680000" cy="360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285750" indent="-285750">
              <a:buSzPct val="90000"/>
              <a:buFont typeface="Arial" charset="0"/>
              <a:buChar char="•"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98461" y="2760281"/>
            <a:ext cx="4320000" cy="32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169276" y="1563798"/>
            <a:ext cx="9720000" cy="72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80007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odafactoflife.org.uk/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160862-40A4-418F-BA05-7364BC4F5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666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160862-40A4-418F-BA05-7364BC4F5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9453" y="358589"/>
            <a:ext cx="2044335" cy="143516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8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Food –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328885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2679DA3-4731-48D3-8E36-CB7A65362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796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2679DA3-4731-48D3-8E36-CB7A65362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  <a:p>
            <a:pPr algn="r"/>
            <a:endParaRPr lang="en-US" sz="900"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317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E8F17B-CE4B-4D2B-BFE0-BF7FFE196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213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E8F17B-CE4B-4D2B-BFE0-BF7FFE196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822393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C646FD-9780-4F7E-B8BB-C7185B1667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886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C646FD-9780-4F7E-B8BB-C7185B166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79973"/>
            <a:ext cx="12192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78814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hyperlink" Target="https://www.foodafactoflife.org.uk/whole-school/whole-school-approach/guidelines-for-school-education-resources-about-food/" TargetMode="Externa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UTLpec" TargetMode="Externa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BAB5C4-5602-473B-9D95-400B1B769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408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BAB5C4-5602-473B-9D95-400B1B769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igestive system treasure hunt</a:t>
            </a:r>
          </a:p>
        </p:txBody>
      </p:sp>
    </p:spTree>
    <p:extLst>
      <p:ext uri="{BB962C8B-B14F-4D97-AF65-F5344CB8AC3E}">
        <p14:creationId xmlns:p14="http://schemas.microsoft.com/office/powerpoint/2010/main" val="1955166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rectu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7173340" cy="360000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GB" sz="2000" dirty="0"/>
              <a:t>The rectum is an eight-inch chamber that connects the colon to the anus. </a:t>
            </a:r>
          </a:p>
          <a:p>
            <a:pPr marL="0" indent="0">
              <a:buNone/>
              <a:defRPr/>
            </a:pPr>
            <a:endParaRPr lang="en-GB" sz="2000" dirty="0"/>
          </a:p>
          <a:p>
            <a:pPr marL="0" indent="0">
              <a:buNone/>
              <a:defRPr/>
            </a:pPr>
            <a:r>
              <a:rPr lang="en-GB" sz="2000" dirty="0"/>
              <a:t>It receives faeces from the large intestine, lets the person know there is a faeces that needs to leave the body and holds it until it is able to leave.</a:t>
            </a:r>
          </a:p>
        </p:txBody>
      </p:sp>
    </p:spTree>
    <p:extLst>
      <p:ext uri="{BB962C8B-B14F-4D97-AF65-F5344CB8AC3E}">
        <p14:creationId xmlns:p14="http://schemas.microsoft.com/office/powerpoint/2010/main" val="4923672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anu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000" dirty="0"/>
              <a:t>The watery residue moves along the colon, the faeces are formed and stored in the rectum before being excreted through the anus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Young children gradually learn to control this action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The time taken for faeces to pass through the colon can be reduced if the diet is high in fibre.</a:t>
            </a: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803837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A84C499-0517-4887-96DB-81C9129ABB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096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A84C499-0517-4887-96DB-81C9129AB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igestive system treasure hun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sz="3600" dirty="0"/>
              <a:t>For further information, go to:</a:t>
            </a:r>
          </a:p>
          <a:p>
            <a:pPr marL="0" indent="0" algn="ctr">
              <a:buNone/>
            </a:pPr>
            <a:r>
              <a:rPr lang="en-GB" sz="3600" dirty="0"/>
              <a:t>www.foodafactoflife.org.u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C3A9D8-F056-4907-ADD0-8B883B971968}"/>
              </a:ext>
            </a:extLst>
          </p:cNvPr>
          <p:cNvSpPr txBox="1"/>
          <p:nvPr/>
        </p:nvSpPr>
        <p:spPr>
          <a:xfrm>
            <a:off x="486577" y="6116351"/>
            <a:ext cx="99043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This resource meets the</a:t>
            </a:r>
            <a:r>
              <a:rPr lang="en-GB" sz="14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1" i="1" u="sng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Guidelines for producers and users of school education resources about food</a:t>
            </a:r>
            <a:r>
              <a:rPr lang="en-GB" sz="1400" b="1" i="1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6E8DE8-0542-D29E-5DCF-8FEE4D2541E9}"/>
              </a:ext>
            </a:extLst>
          </p:cNvPr>
          <p:cNvSpPr txBox="1"/>
          <p:nvPr/>
        </p:nvSpPr>
        <p:spPr>
          <a:xfrm>
            <a:off x="1730829" y="5125454"/>
            <a:ext cx="91440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is resource was produced for the </a:t>
            </a:r>
            <a:r>
              <a:rPr lang="en-GB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pHood</a:t>
            </a:r>
            <a:r>
              <a:rPr lang="en-GB" sz="1400" i="1" dirty="0">
                <a:latin typeface="Arial" panose="020B0604020202020204" pitchFamily="34" charset="0"/>
                <a:cs typeface="Arial" panose="020B0604020202020204" pitchFamily="34" charset="0"/>
              </a:rPr>
              <a:t> Futures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roject, supported by the Royal Society of Chemistry.</a:t>
            </a:r>
          </a:p>
        </p:txBody>
      </p:sp>
    </p:spTree>
    <p:extLst>
      <p:ext uri="{BB962C8B-B14F-4D97-AF65-F5344CB8AC3E}">
        <p14:creationId xmlns:p14="http://schemas.microsoft.com/office/powerpoint/2010/main" val="2302005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 mout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8969" y="2535467"/>
            <a:ext cx="6751566" cy="3414071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Food needs to be chewed and broken down into pieces small enough to swallow.</a:t>
            </a:r>
          </a:p>
          <a:p>
            <a:pPr marL="0" indent="0">
              <a:buNone/>
            </a:pPr>
            <a:r>
              <a:rPr lang="en-GB" sz="2000" dirty="0"/>
              <a:t>Mastication is the action of the teeth and the jaws working together to break food down. </a:t>
            </a:r>
          </a:p>
          <a:p>
            <a:pPr marL="0" indent="0">
              <a:buNone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Breaking the food down also gives it a larger surface area for the digestive enzymes to work on.</a:t>
            </a:r>
          </a:p>
          <a:p>
            <a:pPr marL="0" indent="0">
              <a:buNone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Did you know?</a:t>
            </a:r>
          </a:p>
          <a:p>
            <a:pPr marL="0" indent="0">
              <a:buNone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here are two main types of teeth in the mouth: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ncisors to tear food, e.g. meat;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molars to grind the food.</a:t>
            </a:r>
          </a:p>
          <a:p>
            <a:pPr marL="0" indent="0">
              <a:buNone/>
            </a:pPr>
            <a:endParaRPr lang="en-GB" sz="2000" dirty="0"/>
          </a:p>
        </p:txBody>
      </p:sp>
      <p:pic>
        <p:nvPicPr>
          <p:cNvPr id="4" name="Picture 3" descr="A person eating an apple&#10;&#10;Description automatically generated with medium confidence">
            <a:extLst>
              <a:ext uri="{FF2B5EF4-FFF2-40B4-BE49-F238E27FC236}">
                <a16:creationId xmlns:a16="http://schemas.microsoft.com/office/drawing/2014/main" id="{FC74D803-532F-966E-C54A-4A469D04F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8433" y="2488438"/>
            <a:ext cx="4098111" cy="273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136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1BAD4007-F0F7-A6F5-76FE-734F9B5003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8449" y="2681694"/>
            <a:ext cx="4278268" cy="30063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oesophagus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7" y="2571092"/>
            <a:ext cx="6892206" cy="3600000"/>
          </a:xfrm>
        </p:spPr>
        <p:txBody>
          <a:bodyPr/>
          <a:lstStyle/>
          <a:p>
            <a:pPr marL="0" indent="0">
              <a:spcBef>
                <a:spcPct val="0"/>
              </a:spcBef>
              <a:buNone/>
            </a:pPr>
            <a:r>
              <a:rPr lang="en-US" altLang="en-US" sz="2000" dirty="0"/>
              <a:t>The oesophagus is similar to a conveyor belt as it transfers the food bolus from the mouth to the stomach in a few seconds. </a:t>
            </a:r>
          </a:p>
          <a:p>
            <a:pPr marL="0" indent="0">
              <a:spcBef>
                <a:spcPct val="0"/>
              </a:spcBef>
              <a:buNone/>
            </a:pPr>
            <a:endParaRPr lang="en-US" altLang="en-US" sz="2000" dirty="0"/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2000" dirty="0"/>
              <a:t>Circular muscles in the wall of the oesophagus relax in front of the bolus while circular muscles behind the food contract, pushing the food bolus onward. This is called peristalsis.</a:t>
            </a:r>
          </a:p>
          <a:p>
            <a:pPr marL="0" indent="0">
              <a:spcBef>
                <a:spcPct val="0"/>
              </a:spcBef>
              <a:buNone/>
            </a:pPr>
            <a:endParaRPr lang="en-US" altLang="en-US" sz="2000" dirty="0"/>
          </a:p>
          <a:p>
            <a:pPr marL="0" indent="0">
              <a:spcBef>
                <a:spcPct val="0"/>
              </a:spcBef>
              <a:buNone/>
            </a:pPr>
            <a:r>
              <a:rPr lang="en-GB" altLang="en-US" sz="2000" b="1" dirty="0"/>
              <a:t>Did you know?</a:t>
            </a:r>
          </a:p>
          <a:p>
            <a:pPr marL="0" indent="0">
              <a:spcBef>
                <a:spcPct val="0"/>
              </a:spcBef>
              <a:buNone/>
            </a:pPr>
            <a:endParaRPr lang="en-GB" altLang="en-US" sz="2000" dirty="0"/>
          </a:p>
          <a:p>
            <a:pPr marL="0" indent="0">
              <a:spcBef>
                <a:spcPct val="0"/>
              </a:spcBef>
              <a:buNone/>
            </a:pPr>
            <a:r>
              <a:rPr lang="en-GB" altLang="en-US" sz="2000" dirty="0"/>
              <a:t>People do not have conscious control over the muscles in the oesophagus. Even if someone is </a:t>
            </a:r>
            <a:r>
              <a:rPr lang="en-GB" altLang="en-US" sz="2000" dirty="0">
                <a:hlinkClick r:id="rId3"/>
              </a:rPr>
              <a:t>upside down</a:t>
            </a:r>
            <a:r>
              <a:rPr lang="en-GB" altLang="en-US" sz="2000" dirty="0"/>
              <a:t>, the food will be passed on to the stomach.</a:t>
            </a:r>
            <a:endParaRPr lang="en-US" altLang="en-US" sz="2000" dirty="0"/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536835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liv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5616966" cy="360000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GB" sz="2000" dirty="0"/>
              <a:t>The liver’s main function within the digestive system is to process the blood containing the nutrients absorbed from the small intestine. </a:t>
            </a:r>
          </a:p>
          <a:p>
            <a:pPr marL="0" indent="0">
              <a:buNone/>
              <a:defRPr/>
            </a:pPr>
            <a:endParaRPr lang="en-GB" sz="2000" dirty="0"/>
          </a:p>
          <a:p>
            <a:pPr marL="0" indent="0">
              <a:buNone/>
              <a:defRPr/>
            </a:pPr>
            <a:r>
              <a:rPr lang="en-GB" sz="2000" dirty="0"/>
              <a:t>Bile made in the liver and secreted into the small intestine also plays an important role in digesting fat. 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591D87E-1CC9-0A53-C92D-357CCE3E27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9466" y="2165652"/>
            <a:ext cx="4791428" cy="336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091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gallbladd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7" y="2571092"/>
            <a:ext cx="6240234" cy="360000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he gallbladder is a storage sac for excess bile. Bile made in the liver travels to the small intestine via the bile ducts. 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Bile serves two main purposes: 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First, it helps absorb fats in the diet.</a:t>
            </a:r>
          </a:p>
          <a:p>
            <a:pPr>
              <a:buFont typeface="Arial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Secondly, it carries waste from the liver that cannot go through the kidneys.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5" name="Picture 4" descr="A green bell pepper&#10;&#10;Description automatically generated with medium confidence">
            <a:extLst>
              <a:ext uri="{FF2B5EF4-FFF2-40B4-BE49-F238E27FC236}">
                <a16:creationId xmlns:a16="http://schemas.microsoft.com/office/drawing/2014/main" id="{4C2F055F-952E-F722-4D69-7E87624D83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204" t="21645" r="23135" b="16293"/>
          <a:stretch/>
        </p:blipFill>
        <p:spPr>
          <a:xfrm>
            <a:off x="7536624" y="2061929"/>
            <a:ext cx="3805216" cy="376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178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ancrea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5723578" cy="360000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GB" sz="2000" dirty="0"/>
              <a:t>In digestion, the pancreas’ main job is to produce digestive enzymes. These are secreted into the first segment of the small intestine and break down protein, fats, and carbohydrates.</a:t>
            </a:r>
          </a:p>
          <a:p>
            <a:pPr marL="0" indent="0">
              <a:buNone/>
              <a:defRPr/>
            </a:pPr>
            <a:endParaRPr lang="en-GB" sz="2000" dirty="0"/>
          </a:p>
          <a:p>
            <a:pPr marL="0" indent="0">
              <a:buNone/>
              <a:defRPr/>
            </a:pPr>
            <a:r>
              <a:rPr lang="en-GB" sz="2000" dirty="0"/>
              <a:t>The pancreas also makes insulin, which helps control blood sugar levels.</a:t>
            </a:r>
            <a:endParaRPr lang="en-US" sz="2000" dirty="0"/>
          </a:p>
        </p:txBody>
      </p:sp>
      <p:pic>
        <p:nvPicPr>
          <p:cNvPr id="5" name="Picture 4" descr="A picture containing footwear&#10;&#10;Description automatically generated">
            <a:extLst>
              <a:ext uri="{FF2B5EF4-FFF2-40B4-BE49-F238E27FC236}">
                <a16:creationId xmlns:a16="http://schemas.microsoft.com/office/drawing/2014/main" id="{1B18F22D-18E1-F1C4-642C-CBBE65B555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91" t="16442" r="3822" b="12167"/>
          <a:stretch/>
        </p:blipFill>
        <p:spPr>
          <a:xfrm>
            <a:off x="7434112" y="2357752"/>
            <a:ext cx="4026640" cy="310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236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stomach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473960" cy="360000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US" sz="2000" dirty="0"/>
              <a:t>The stomach is an expandable sack made up of three different layers of muscles where the food bolus will be churned for a few minutes or up to a few hours.</a:t>
            </a:r>
          </a:p>
          <a:p>
            <a:pPr marL="0" indent="0">
              <a:buNone/>
              <a:defRPr/>
            </a:pPr>
            <a:endParaRPr lang="en-US" sz="2000" dirty="0"/>
          </a:p>
          <a:p>
            <a:pPr marL="0" indent="0">
              <a:buNone/>
              <a:defRPr/>
            </a:pPr>
            <a:r>
              <a:rPr lang="en-GB" sz="2000" dirty="0"/>
              <a:t>The bolus is mixed with hydrochloric acid (</a:t>
            </a:r>
            <a:r>
              <a:rPr lang="en-GB" sz="2000" dirty="0" err="1"/>
              <a:t>HCl</a:t>
            </a:r>
            <a:r>
              <a:rPr lang="en-GB" sz="2000" dirty="0"/>
              <a:t>) which </a:t>
            </a:r>
            <a:r>
              <a:rPr lang="en-US" sz="2000" dirty="0"/>
              <a:t>helps to kill any bacteria present.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4" name="Picture 3" descr="Logo&#10;&#10;Description automatically generated with low confidence">
            <a:extLst>
              <a:ext uri="{FF2B5EF4-FFF2-40B4-BE49-F238E27FC236}">
                <a16:creationId xmlns:a16="http://schemas.microsoft.com/office/drawing/2014/main" id="{CFFCF9E7-5831-2DA8-E5E5-53D6703E16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4557" y="2156685"/>
            <a:ext cx="3650274" cy="365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318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small intestine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511684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dirty="0"/>
              <a:t>Chyme passes out of the stomach through the pyloric sphincter into the small intestine. </a:t>
            </a:r>
          </a:p>
          <a:p>
            <a:pPr marL="0" indent="0">
              <a:buNone/>
            </a:pPr>
            <a:r>
              <a:rPr lang="en-GB" sz="2000" dirty="0"/>
              <a:t>The small intestine is a tube about 6 metres long.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The inner surface of the small intestine is folded into finger-like structures called villi, which greatly increase the surface area available for absorption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331" y="2491828"/>
            <a:ext cx="3144981" cy="3931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3645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colon (</a:t>
            </a:r>
            <a:r>
              <a:rPr lang="en-GB" sz="3600" dirty="0"/>
              <a:t>large intestine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000" dirty="0"/>
              <a:t>The colon is a tube just over 1.5 metre long and is inhabited by bacteria.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The main function of the colon is to absorb water into the bloodstream and to process waste products.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Bacteria in the colon ferment dietary fibre and produce fatty acids and gas.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Other bacteria produce vitamin K, which is also absorbed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The products of bacterial digestion, along with water and any remaining minerals are absorbed leaving a residue behind.</a:t>
            </a:r>
          </a:p>
        </p:txBody>
      </p:sp>
    </p:spTree>
    <p:extLst>
      <p:ext uri="{BB962C8B-B14F-4D97-AF65-F5344CB8AC3E}">
        <p14:creationId xmlns:p14="http://schemas.microsoft.com/office/powerpoint/2010/main" val="1917678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c53071f4-7f44-43fd-895c-8e7b6a3746b0" xsi:nil="true"/>
    <_Flow_SignoffStatus xmlns="c53071f4-7f44-43fd-895c-8e7b6a3746b0" xsi:nil="true"/>
    <SharedWithUsers xmlns="ead97cfe-a968-427f-b02b-893e6ba0355a">
      <UserInfo>
        <DisplayName/>
        <AccountId xsi:nil="true"/>
        <AccountType/>
      </UserInfo>
    </SharedWithUsers>
    <TaxCatchAll xmlns="ead97cfe-a968-427f-b02b-893e6ba0355a" xsi:nil="true"/>
    <lcf76f155ced4ddcb4097134ff3c332f xmlns="c53071f4-7f44-43fd-895c-8e7b6a3746b0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5B78CA333243439763E4169A5FEB7F" ma:contentTypeVersion="17" ma:contentTypeDescription="Create a new document." ma:contentTypeScope="" ma:versionID="f2c597ebce0aa0fd5759700e14dd3adc">
  <xsd:schema xmlns:xsd="http://www.w3.org/2001/XMLSchema" xmlns:xs="http://www.w3.org/2001/XMLSchema" xmlns:p="http://schemas.microsoft.com/office/2006/metadata/properties" xmlns:ns2="c53071f4-7f44-43fd-895c-8e7b6a3746b0" xmlns:ns3="ead97cfe-a968-427f-b02b-893e6ba0355a" targetNamespace="http://schemas.microsoft.com/office/2006/metadata/properties" ma:root="true" ma:fieldsID="27039d98634059a90188b6cb8bc5e987" ns2:_="" ns3:_="">
    <xsd:import namespace="c53071f4-7f44-43fd-895c-8e7b6a3746b0"/>
    <xsd:import namespace="ead97cfe-a968-427f-b02b-893e6ba03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3071f4-7f44-43fd-895c-8e7b6a374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407c16c-d400-4155-af4b-d0582c07d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97cfe-a968-427f-b02b-893e6ba035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8b45f8-435e-402c-b129-c8853cba6318}" ma:internalName="TaxCatchAll" ma:showField="CatchAllData" ma:web="ead97cfe-a968-427f-b02b-893e6ba03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39F3FD5-8BE4-4C63-8E08-C5A7A17FEE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A84615-6D8B-4A8F-B9A5-3805127A3ACB}">
  <ds:schemaRefs>
    <ds:schemaRef ds:uri="c53071f4-7f44-43fd-895c-8e7b6a3746b0"/>
    <ds:schemaRef ds:uri="ead97cfe-a968-427f-b02b-893e6ba0355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C070EDE-625B-48A2-97EA-57E655003D7E}">
  <ds:schemaRefs>
    <ds:schemaRef ds:uri="c53071f4-7f44-43fd-895c-8e7b6a3746b0"/>
    <ds:schemaRef ds:uri="ead97cfe-a968-427f-b02b-893e6ba0355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5</TotalTime>
  <Words>688</Words>
  <Application>Microsoft Office PowerPoint</Application>
  <PresentationFormat>Widescreen</PresentationFormat>
  <Paragraphs>6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Office Theme</vt:lpstr>
      <vt:lpstr>Custom Design</vt:lpstr>
      <vt:lpstr>1_Custom Design</vt:lpstr>
      <vt:lpstr>3_Custom Design</vt:lpstr>
      <vt:lpstr>think-cell Slide</vt:lpstr>
      <vt:lpstr>Digestive system treasure hunt</vt:lpstr>
      <vt:lpstr>The mouth</vt:lpstr>
      <vt:lpstr>The oesophagus </vt:lpstr>
      <vt:lpstr>The liver</vt:lpstr>
      <vt:lpstr>The gallbladder</vt:lpstr>
      <vt:lpstr>The pancreas</vt:lpstr>
      <vt:lpstr>The stomach </vt:lpstr>
      <vt:lpstr>The small intestine </vt:lpstr>
      <vt:lpstr>The colon (large intestine)</vt:lpstr>
      <vt:lpstr>The rectum</vt:lpstr>
      <vt:lpstr>The anus</vt:lpstr>
      <vt:lpstr>Digestive system treasure hu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 social!</dc:title>
  <dc:creator>Glenn Carter</dc:creator>
  <cp:lastModifiedBy>Frances Meek</cp:lastModifiedBy>
  <cp:revision>185</cp:revision>
  <dcterms:created xsi:type="dcterms:W3CDTF">2018-10-10T09:22:08Z</dcterms:created>
  <dcterms:modified xsi:type="dcterms:W3CDTF">2022-09-25T11:4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5B78CA333243439763E4169A5FEB7F</vt:lpwstr>
  </property>
  <property fmtid="{D5CDD505-2E9C-101B-9397-08002B2CF9AE}" pid="3" name="Order">
    <vt:r8>551200</vt:r8>
  </property>
  <property fmtid="{D5CDD505-2E9C-101B-9397-08002B2CF9AE}" pid="4" name="_ExtendedDescription">
    <vt:lpwstr/>
  </property>
  <property fmtid="{D5CDD505-2E9C-101B-9397-08002B2CF9AE}" pid="5" name="ComplianceAssetId">
    <vt:lpwstr/>
  </property>
  <property fmtid="{D5CDD505-2E9C-101B-9397-08002B2CF9AE}" pid="6" name="TriggerFlowInfo">
    <vt:lpwstr/>
  </property>
  <property fmtid="{D5CDD505-2E9C-101B-9397-08002B2CF9AE}" pid="7" name="MediaServiceImageTags">
    <vt:lpwstr/>
  </property>
</Properties>
</file>